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slides/slide77.xml" ContentType="application/vnd.openxmlformats-officedocument.presentationml.slid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rawings/drawing3.xml" ContentType="application/vnd.openxmlformats-officedocument.drawingml.chartshape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charts/chart10.xml" ContentType="application/vnd.openxmlformats-officedocument.drawingml.char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Default Extension="xls" ContentType="application/vnd.ms-exce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charts/chart15.xml" ContentType="application/vnd.openxmlformats-officedocument.drawingml.char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slides/slide79.xml" ContentType="application/vnd.openxmlformats-officedocument.presentationml.slide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charts/chart16.xml" ContentType="application/vnd.openxmlformats-officedocument.drawingml.chart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tags/tag89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charts/chart17.xml" ContentType="application/vnd.openxmlformats-officedocument.drawingml.chart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charts/chart20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48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375" r:id="rId1"/>
  </p:sldMasterIdLst>
  <p:notesMasterIdLst>
    <p:notesMasterId r:id="rId82"/>
  </p:notesMasterIdLst>
  <p:handoutMasterIdLst>
    <p:handoutMasterId r:id="rId83"/>
  </p:handoutMasterIdLst>
  <p:sldIdLst>
    <p:sldId id="489" r:id="rId2"/>
    <p:sldId id="479" r:id="rId3"/>
    <p:sldId id="542" r:id="rId4"/>
    <p:sldId id="480" r:id="rId5"/>
    <p:sldId id="484" r:id="rId6"/>
    <p:sldId id="490" r:id="rId7"/>
    <p:sldId id="482" r:id="rId8"/>
    <p:sldId id="483" r:id="rId9"/>
    <p:sldId id="546" r:id="rId10"/>
    <p:sldId id="491" r:id="rId11"/>
    <p:sldId id="582" r:id="rId12"/>
    <p:sldId id="583" r:id="rId13"/>
    <p:sldId id="487" r:id="rId14"/>
    <p:sldId id="493" r:id="rId15"/>
    <p:sldId id="494" r:id="rId16"/>
    <p:sldId id="495" r:id="rId17"/>
    <p:sldId id="574" r:id="rId18"/>
    <p:sldId id="575" r:id="rId19"/>
    <p:sldId id="576" r:id="rId20"/>
    <p:sldId id="577" r:id="rId21"/>
    <p:sldId id="578" r:id="rId22"/>
    <p:sldId id="580" r:id="rId23"/>
    <p:sldId id="503" r:id="rId24"/>
    <p:sldId id="543" r:id="rId25"/>
    <p:sldId id="547" r:id="rId26"/>
    <p:sldId id="549" r:id="rId27"/>
    <p:sldId id="548" r:id="rId28"/>
    <p:sldId id="506" r:id="rId29"/>
    <p:sldId id="507" r:id="rId30"/>
    <p:sldId id="508" r:id="rId31"/>
    <p:sldId id="509" r:id="rId32"/>
    <p:sldId id="510" r:id="rId33"/>
    <p:sldId id="511" r:id="rId34"/>
    <p:sldId id="512" r:id="rId35"/>
    <p:sldId id="513" r:id="rId36"/>
    <p:sldId id="514" r:id="rId37"/>
    <p:sldId id="515" r:id="rId38"/>
    <p:sldId id="516" r:id="rId39"/>
    <p:sldId id="517" r:id="rId40"/>
    <p:sldId id="518" r:id="rId41"/>
    <p:sldId id="519" r:id="rId42"/>
    <p:sldId id="520" r:id="rId43"/>
    <p:sldId id="521" r:id="rId44"/>
    <p:sldId id="522" r:id="rId45"/>
    <p:sldId id="523" r:id="rId46"/>
    <p:sldId id="524" r:id="rId47"/>
    <p:sldId id="525" r:id="rId48"/>
    <p:sldId id="526" r:id="rId49"/>
    <p:sldId id="527" r:id="rId50"/>
    <p:sldId id="528" r:id="rId51"/>
    <p:sldId id="595" r:id="rId52"/>
    <p:sldId id="596" r:id="rId53"/>
    <p:sldId id="570" r:id="rId54"/>
    <p:sldId id="571" r:id="rId55"/>
    <p:sldId id="572" r:id="rId56"/>
    <p:sldId id="536" r:id="rId57"/>
    <p:sldId id="550" r:id="rId58"/>
    <p:sldId id="539" r:id="rId59"/>
    <p:sldId id="537" r:id="rId60"/>
    <p:sldId id="538" r:id="rId61"/>
    <p:sldId id="540" r:id="rId62"/>
    <p:sldId id="597" r:id="rId63"/>
    <p:sldId id="541" r:id="rId64"/>
    <p:sldId id="598" r:id="rId65"/>
    <p:sldId id="554" r:id="rId66"/>
    <p:sldId id="599" r:id="rId67"/>
    <p:sldId id="600" r:id="rId68"/>
    <p:sldId id="601" r:id="rId69"/>
    <p:sldId id="591" r:id="rId70"/>
    <p:sldId id="558" r:id="rId71"/>
    <p:sldId id="559" r:id="rId72"/>
    <p:sldId id="560" r:id="rId73"/>
    <p:sldId id="561" r:id="rId74"/>
    <p:sldId id="562" r:id="rId75"/>
    <p:sldId id="593" r:id="rId76"/>
    <p:sldId id="563" r:id="rId77"/>
    <p:sldId id="594" r:id="rId78"/>
    <p:sldId id="565" r:id="rId79"/>
    <p:sldId id="581" r:id="rId80"/>
    <p:sldId id="586" r:id="rId81"/>
  </p:sldIdLst>
  <p:sldSz cx="6858000" cy="9906000" type="A4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1507"/>
    <a:srgbClr val="800080"/>
    <a:srgbClr val="CCCCFF"/>
    <a:srgbClr val="00FFCC"/>
    <a:srgbClr val="33CCFF"/>
    <a:srgbClr val="00CCFF"/>
    <a:srgbClr val="FF9999"/>
    <a:srgbClr val="66FFFF"/>
    <a:srgbClr val="339966"/>
    <a:srgbClr val="6699FF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34587" autoAdjust="0"/>
    <p:restoredTop sz="86437" autoAdjust="0"/>
  </p:normalViewPr>
  <p:slideViewPr>
    <p:cSldViewPr>
      <p:cViewPr varScale="1">
        <p:scale>
          <a:sx n="80" d="100"/>
          <a:sy n="80" d="100"/>
        </p:scale>
        <p:origin x="-3270" y="18"/>
      </p:cViewPr>
      <p:guideLst>
        <p:guide orient="horz" pos="3120"/>
        <p:guide pos="2160"/>
      </p:guideLst>
    </p:cSldViewPr>
  </p:slideViewPr>
  <p:outlineViewPr>
    <p:cViewPr>
      <p:scale>
        <a:sx n="33" d="100"/>
        <a:sy n="33" d="100"/>
      </p:scale>
      <p:origin x="0" y="298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20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8.1632361553514568E-2"/>
          <c:y val="2.1027331919068411E-2"/>
          <c:w val="0.85677884272022165"/>
          <c:h val="0.8840135682735046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8.8888266748789399E-2"/>
                  <c:y val="4.0143088209130588E-2"/>
                </c:manualLayout>
              </c:layout>
              <c:showVal val="1"/>
            </c:dLbl>
            <c:dLbl>
              <c:idx val="1"/>
              <c:layout>
                <c:manualLayout>
                  <c:x val="9.4685327623710208E-2"/>
                  <c:y val="3.4408361322112002E-2"/>
                </c:manualLayout>
              </c:layout>
              <c:showVal val="1"/>
            </c:dLbl>
            <c:dLbl>
              <c:idx val="2"/>
              <c:layout>
                <c:manualLayout>
                  <c:x val="9.6617681248683876E-2"/>
                  <c:y val="5.7347268870186702E-3"/>
                </c:manualLayout>
              </c:layout>
              <c:showVal val="1"/>
            </c:dLbl>
            <c:dLbl>
              <c:idx val="3"/>
              <c:layout>
                <c:manualLayout>
                  <c:x val="8.6955913123815717E-2"/>
                  <c:y val="2.2938907548074757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2563</c:v>
                </c:pt>
                <c:pt idx="1">
                  <c:v>2664.7999999999997</c:v>
                </c:pt>
                <c:pt idx="2">
                  <c:v>1860.8</c:v>
                </c:pt>
                <c:pt idx="3">
                  <c:v>157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FF9999"/>
            </a:solidFill>
          </c:spPr>
          <c:dLbls>
            <c:dLbl>
              <c:idx val="0"/>
              <c:layout>
                <c:manualLayout>
                  <c:x val="5.4105901499262983E-2"/>
                  <c:y val="-1.1469453774037314E-2"/>
                </c:manualLayout>
              </c:layout>
              <c:showVal val="1"/>
            </c:dLbl>
            <c:dLbl>
              <c:idx val="1"/>
              <c:layout>
                <c:manualLayout>
                  <c:x val="4.2511779749420914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4.637648699936843E-2"/>
                  <c:y val="-1.9115756290062247E-3"/>
                </c:manualLayout>
              </c:layout>
              <c:showVal val="1"/>
            </c:dLbl>
            <c:dLbl>
              <c:idx val="3"/>
              <c:layout>
                <c:manualLayout>
                  <c:x val="5.4105901499262983E-2"/>
                  <c:y val="-1.3381029403043563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C$2:$C$5</c:f>
              <c:numCache>
                <c:formatCode>#,##0.0</c:formatCode>
                <c:ptCount val="4"/>
                <c:pt idx="0">
                  <c:v>2100.6</c:v>
                </c:pt>
                <c:pt idx="1">
                  <c:v>2189.1</c:v>
                </c:pt>
                <c:pt idx="2">
                  <c:v>1363.1</c:v>
                </c:pt>
                <c:pt idx="3">
                  <c:v>1053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00FFCC"/>
            </a:solidFill>
          </c:spPr>
          <c:dLbls>
            <c:dLbl>
              <c:idx val="0"/>
              <c:layout>
                <c:manualLayout>
                  <c:x val="3.0917657999578841E-2"/>
                  <c:y val="-1.5292605032049747E-2"/>
                </c:manualLayout>
              </c:layout>
              <c:showVal val="1"/>
            </c:dLbl>
            <c:dLbl>
              <c:idx val="1"/>
              <c:layout>
                <c:manualLayout>
                  <c:x val="3.2850011624552609E-2"/>
                  <c:y val="-1.1469453774037353E-2"/>
                </c:manualLayout>
              </c:layout>
              <c:showVal val="1"/>
            </c:dLbl>
            <c:dLbl>
              <c:idx val="2"/>
              <c:layout>
                <c:manualLayout>
                  <c:x val="3.8647072499473724E-2"/>
                  <c:y val="-1.7204180661056036E-2"/>
                </c:manualLayout>
              </c:layout>
              <c:showVal val="1"/>
            </c:dLbl>
            <c:dLbl>
              <c:idx val="3"/>
              <c:layout>
                <c:manualLayout>
                  <c:x val="4.0579426124447329E-2"/>
                  <c:y val="-9.5578781450310936E-3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D$2:$D$5</c:f>
              <c:numCache>
                <c:formatCode>#,##0.0</c:formatCode>
                <c:ptCount val="4"/>
                <c:pt idx="0">
                  <c:v>462.40000000000003</c:v>
                </c:pt>
                <c:pt idx="1">
                  <c:v>475.7</c:v>
                </c:pt>
                <c:pt idx="2">
                  <c:v>497.7</c:v>
                </c:pt>
                <c:pt idx="3">
                  <c:v>521</c:v>
                </c:pt>
              </c:numCache>
            </c:numRef>
          </c:val>
        </c:ser>
        <c:shape val="cylinder"/>
        <c:axId val="149924480"/>
        <c:axId val="148509056"/>
        <c:axId val="0"/>
      </c:bar3DChart>
      <c:catAx>
        <c:axId val="149924480"/>
        <c:scaling>
          <c:orientation val="minMax"/>
        </c:scaling>
        <c:axPos val="b"/>
        <c:tickLblPos val="nextTo"/>
        <c:crossAx val="148509056"/>
        <c:crosses val="autoZero"/>
        <c:auto val="1"/>
        <c:lblAlgn val="ctr"/>
        <c:lblOffset val="100"/>
      </c:catAx>
      <c:valAx>
        <c:axId val="148509056"/>
        <c:scaling>
          <c:orientation val="minMax"/>
        </c:scaling>
        <c:delete val="1"/>
        <c:axPos val="l"/>
        <c:numFmt formatCode="#,##0.0" sourceLinked="1"/>
        <c:tickLblPos val="none"/>
        <c:crossAx val="149924480"/>
        <c:crosses val="autoZero"/>
        <c:crossBetween val="between"/>
      </c:valAx>
    </c:plotArea>
    <c:legend>
      <c:legendPos val="r"/>
      <c:legendEntry>
        <c:idx val="1"/>
        <c:txPr>
          <a:bodyPr/>
          <a:lstStyle/>
          <a:p>
            <a:pPr>
              <a:defRPr sz="1400" b="1"/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14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400" b="1"/>
            </a:pPr>
            <a:endParaRPr lang="ru-RU"/>
          </a:p>
        </c:txPr>
      </c:legendEntry>
      <c:layout>
        <c:manualLayout>
          <c:xMode val="edge"/>
          <c:yMode val="edge"/>
          <c:x val="5.3065169310694466E-2"/>
          <c:y val="1.2729287475988697E-3"/>
          <c:w val="0.51988472910625605"/>
          <c:h val="0.12768708078920679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5.4728713413193124E-2"/>
          <c:y val="2.5914268661589246E-2"/>
          <c:w val="0.94527132545931769"/>
          <c:h val="0.65884416240290233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dLbl>
              <c:idx val="3"/>
              <c:layout>
                <c:manualLayout>
                  <c:x val="3.0222116458035242E-2"/>
                  <c:y val="9.850452622203916E-3"/>
                </c:manualLayout>
              </c:layout>
              <c:showVal val="1"/>
            </c:dLbl>
            <c:showVal val="1"/>
          </c:dLbls>
          <c:cat>
            <c:strRef>
              <c:f>Лист1!$A$2:$A$6</c:f>
              <c:strCache>
                <c:ptCount val="5"/>
                <c:pt idx="0">
                  <c:v>2022 год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  <c:pt idx="4">
                  <c:v>2026 год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822.7</c:v>
                </c:pt>
                <c:pt idx="1">
                  <c:v>703.7</c:v>
                </c:pt>
                <c:pt idx="2">
                  <c:v>609.29999999999995</c:v>
                </c:pt>
                <c:pt idx="3">
                  <c:v>599.6</c:v>
                </c:pt>
                <c:pt idx="4">
                  <c:v>593.7999999999999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6</c:f>
              <c:strCache>
                <c:ptCount val="5"/>
                <c:pt idx="0">
                  <c:v>2022 год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  <c:pt idx="4">
                  <c:v>2026 год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25.3</c:v>
                </c:pt>
                <c:pt idx="1">
                  <c:v>488.5</c:v>
                </c:pt>
                <c:pt idx="2">
                  <c:v>468.6</c:v>
                </c:pt>
                <c:pt idx="3">
                  <c:v>451.7</c:v>
                </c:pt>
                <c:pt idx="4">
                  <c:v>409.3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ные межбюджетные транферты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000" dirty="0"/>
                      <a:t>111,1</a:t>
                    </a:r>
                  </a:p>
                </c:rich>
              </c:tx>
              <c:showVal val="1"/>
            </c:dLbl>
            <c:showVal val="1"/>
          </c:dLbls>
          <c:cat>
            <c:strRef>
              <c:f>Лист1!$A$2:$A$6</c:f>
              <c:strCache>
                <c:ptCount val="5"/>
                <c:pt idx="0">
                  <c:v>2022 год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  <c:pt idx="4">
                  <c:v>2026 год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116.2</c:v>
                </c:pt>
                <c:pt idx="1">
                  <c:v>153.80000000000001</c:v>
                </c:pt>
                <c:pt idx="2">
                  <c:v>101.7</c:v>
                </c:pt>
                <c:pt idx="3">
                  <c:v>1.3</c:v>
                </c:pt>
                <c:pt idx="4">
                  <c:v>1.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dLbl>
              <c:idx val="2"/>
              <c:layout>
                <c:manualLayout>
                  <c:x val="1.13744075829384E-2"/>
                  <c:y val="2.5914268661589246E-2"/>
                </c:manualLayout>
              </c:layout>
              <c:showVal val="1"/>
            </c:dLbl>
            <c:showVal val="1"/>
          </c:dLbls>
          <c:cat>
            <c:strRef>
              <c:f>Лист1!$A$2:$A$6</c:f>
              <c:strCache>
                <c:ptCount val="5"/>
                <c:pt idx="0">
                  <c:v>2022 год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  <c:pt idx="4">
                  <c:v>2026 год</c:v>
                </c:pt>
              </c:strCache>
            </c:str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473.7</c:v>
                </c:pt>
                <c:pt idx="1">
                  <c:v>764.8</c:v>
                </c:pt>
                <c:pt idx="2">
                  <c:v>1009.5</c:v>
                </c:pt>
                <c:pt idx="3" formatCode="0.0">
                  <c:v>310.5</c:v>
                </c:pt>
                <c:pt idx="4">
                  <c:v>48.6</c:v>
                </c:pt>
              </c:numCache>
            </c:numRef>
          </c:val>
        </c:ser>
        <c:dLbls>
          <c:showVal val="1"/>
        </c:dLbls>
        <c:axId val="151318912"/>
        <c:axId val="151320448"/>
      </c:barChart>
      <c:catAx>
        <c:axId val="151318912"/>
        <c:scaling>
          <c:orientation val="minMax"/>
        </c:scaling>
        <c:axPos val="b"/>
        <c:majorTickMark val="none"/>
        <c:tickLblPos val="nextTo"/>
        <c:crossAx val="151320448"/>
        <c:crosses val="autoZero"/>
        <c:auto val="1"/>
        <c:lblAlgn val="ctr"/>
        <c:lblOffset val="100"/>
      </c:catAx>
      <c:valAx>
        <c:axId val="151320448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51318912"/>
        <c:crosses val="autoZero"/>
        <c:crossBetween val="between"/>
      </c:valAx>
      <c:spPr>
        <a:solidFill>
          <a:schemeClr val="accent5">
            <a:lumMod val="40000"/>
            <a:lumOff val="60000"/>
          </a:schemeClr>
        </a:solidFill>
      </c:spPr>
    </c:plotArea>
    <c:legend>
      <c:legendPos val="r"/>
      <c:layout>
        <c:manualLayout>
          <c:xMode val="edge"/>
          <c:yMode val="edge"/>
          <c:x val="6.2255039698897577E-2"/>
          <c:y val="0.78393669294709811"/>
          <c:w val="0.78034073787412361"/>
          <c:h val="0.15836779883713742"/>
        </c:manualLayout>
      </c:layout>
      <c:txPr>
        <a:bodyPr/>
        <a:lstStyle/>
        <a:p>
          <a:pPr>
            <a:defRPr sz="1100">
              <a:latin typeface="Arial Black" pitchFamily="34" charset="0"/>
            </a:defRPr>
          </a:pPr>
          <a:endParaRPr lang="ru-RU"/>
        </a:p>
      </c:txPr>
    </c:legend>
    <c:plotVisOnly val="1"/>
  </c:chart>
  <c:spPr>
    <a:solidFill>
      <a:schemeClr val="accent5">
        <a:lumMod val="40000"/>
        <a:lumOff val="60000"/>
      </a:schemeClr>
    </a:solidFill>
  </c:spPr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10"/>
      <c:hPercent val="77"/>
      <c:depthPercent val="100"/>
      <c:rAngAx val="1"/>
    </c:view3D>
    <c:plotArea>
      <c:layout>
        <c:manualLayout>
          <c:layoutTarget val="inner"/>
          <c:xMode val="edge"/>
          <c:yMode val="edge"/>
          <c:x val="3.7925653400962454E-2"/>
          <c:y val="3.6716383155038543E-2"/>
          <c:w val="0.9478522265736824"/>
          <c:h val="0.73726392246089034"/>
        </c:manualLayout>
      </c:layout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5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Pt>
            <c:idx val="4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1.1439661162656448E-2"/>
                  <c:y val="-3.4307436748926652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837,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4837010211743719E-2"/>
                  <c:y val="4.0545715313727955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317,1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3.9162343260385556E-2"/>
                  <c:y val="-2.108944384999747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283,6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2.0921074512897053E-2"/>
                  <c:y val="-2.197729525250413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616,0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1.607734145649067E-2"/>
                  <c:y val="4.669442858017156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554,3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40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22 год</c:v>
                </c:pt>
                <c:pt idx="1">
                  <c:v>2023 год</c:v>
                </c:pt>
                <c:pt idx="2">
                  <c:v>2024 год</c:v>
                </c:pt>
                <c:pt idx="3">
                  <c:v>2025 год</c:v>
                </c:pt>
                <c:pt idx="4">
                  <c:v>2026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2317.1</c:v>
                </c:pt>
                <c:pt idx="1">
                  <c:v>2283.6</c:v>
                </c:pt>
                <c:pt idx="2">
                  <c:v>2664.77</c:v>
                </c:pt>
                <c:pt idx="3">
                  <c:v>1860.76</c:v>
                </c:pt>
                <c:pt idx="4">
                  <c:v>1574.03</c:v>
                </c:pt>
              </c:numCache>
            </c:numRef>
          </c:val>
        </c:ser>
        <c:dLbls>
          <c:showVal val="1"/>
        </c:dLbls>
        <c:gapWidth val="0"/>
        <c:gapDepth val="0"/>
        <c:shape val="cylinder"/>
        <c:axId val="151413120"/>
        <c:axId val="151414656"/>
        <c:axId val="0"/>
      </c:bar3DChart>
      <c:catAx>
        <c:axId val="151413120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51414656"/>
        <c:crosses val="autoZero"/>
        <c:auto val="1"/>
        <c:lblAlgn val="ctr"/>
        <c:lblOffset val="100"/>
        <c:tickLblSkip val="1"/>
        <c:tickMarkSkip val="1"/>
      </c:catAx>
      <c:valAx>
        <c:axId val="151414656"/>
        <c:scaling>
          <c:orientation val="minMax"/>
          <c:min val="1500"/>
        </c:scaling>
        <c:delete val="1"/>
        <c:axPos val="l"/>
        <c:numFmt formatCode="General" sourceLinked="1"/>
        <c:tickLblPos val="none"/>
        <c:crossAx val="151413120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7.9166550015398449E-2"/>
          <c:y val="0.10771344849146579"/>
          <c:w val="0.8138893166102118"/>
          <c:h val="0.5697247963268915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explosion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rgbClr val="FFCCCC"/>
              </a:solidFill>
            </c:spPr>
          </c:dPt>
          <c:dLbls>
            <c:dLbl>
              <c:idx val="0"/>
              <c:layout>
                <c:manualLayout>
                  <c:x val="-0.18564448084402776"/>
                  <c:y val="-0.13432560235382263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2077,9</a:t>
                    </a:r>
                  </a:p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78%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dLbl>
              <c:idx val="1"/>
              <c:layout>
                <c:manualLayout>
                  <c:x val="0.10137133773341919"/>
                  <c:y val="4.8721346560031851E-4"/>
                </c:manualLayout>
              </c:layout>
              <c:tx>
                <c:rich>
                  <a:bodyPr/>
                  <a:lstStyle/>
                  <a:p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586,9</a:t>
                    </a:r>
                    <a:r>
                      <a:rPr lang="ru-RU" sz="1400" baseline="0" dirty="0" smtClean="0">
                        <a:latin typeface="Times New Roman" pitchFamily="18" charset="0"/>
                        <a:cs typeface="Times New Roman" pitchFamily="18" charset="0"/>
                      </a:rPr>
                      <a:t>    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(22</a:t>
                    </a:r>
                    <a:r>
                      <a:rPr lang="ru-RU" sz="1400" baseline="0" dirty="0" smtClean="0">
                        <a:latin typeface="Times New Roman" pitchFamily="18" charset="0"/>
                        <a:cs typeface="Times New Roman" pitchFamily="18" charset="0"/>
                      </a:rPr>
                      <a:t>%</a:t>
                    </a:r>
                    <a:r>
                      <a:rPr lang="ru-RU" sz="1400" dirty="0" smtClean="0">
                        <a:latin typeface="Times New Roman" pitchFamily="18" charset="0"/>
                        <a:cs typeface="Times New Roman" pitchFamily="18" charset="0"/>
                      </a:rPr>
                      <a:t>)</a:t>
                    </a:r>
                    <a:endParaRPr lang="en-US" sz="1400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dLblPos val="bestFit"/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bestFit"/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отрасли социально-культурной сферы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077.9</c:v>
                </c:pt>
                <c:pt idx="1">
                  <c:v>586.9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/>
      <c:txPr>
        <a:bodyPr/>
        <a:lstStyle/>
        <a:p>
          <a:pPr>
            <a:defRPr sz="12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title>
      <c:tx>
        <c:rich>
          <a:bodyPr/>
          <a:lstStyle/>
          <a:p>
            <a:pPr>
              <a:defRPr sz="1400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sz="1400" b="1" i="0" u="none" strike="noStrike" baseline="0" dirty="0" smtClean="0">
                <a:latin typeface="Times New Roman" pitchFamily="18" charset="0"/>
                <a:cs typeface="Times New Roman" pitchFamily="18" charset="0"/>
              </a:rPr>
              <a:t>на отрасли социально-культурной сферы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6114016608524576"/>
          <c:y val="0.12524476824641953"/>
        </c:manualLayout>
      </c:layout>
    </c:title>
    <c:view3D>
      <c:rotX val="10"/>
      <c:hPercent val="77"/>
      <c:depthPercent val="100"/>
      <c:rAngAx val="1"/>
    </c:view3D>
    <c:plotArea>
      <c:layout>
        <c:manualLayout>
          <c:layoutTarget val="inner"/>
          <c:xMode val="edge"/>
          <c:yMode val="edge"/>
          <c:x val="0.13120092365390518"/>
          <c:y val="0.10075764673259972"/>
          <c:w val="0.50702156517603758"/>
          <c:h val="0.88087012337972925"/>
        </c:manualLayout>
      </c:layout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accent2"/>
              </a:solidFill>
            </c:spPr>
          </c:dPt>
          <c:dPt>
            <c:idx val="1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3"/>
            <c:spPr>
              <a:solidFill>
                <a:srgbClr val="FFCCCC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377,9</a:t>
                    </a: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797,8</a:t>
                    </a:r>
                  </a:p>
                </c:rich>
              </c:tx>
              <c:showVal val="1"/>
            </c:dLbl>
            <c:dLbl>
              <c:idx val="2"/>
              <c:layout>
                <c:manualLayout>
                  <c:x val="1.6592473362921085E-2"/>
                  <c:y val="-1.473467861722586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</a:t>
                    </a:r>
                    <a:r>
                      <a:rPr lang="ru-RU" dirty="0" smtClean="0"/>
                      <a:t>5,9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Социальная политика</c:v>
                </c:pt>
                <c:pt idx="1">
                  <c:v>Образование</c:v>
                </c:pt>
                <c:pt idx="2">
                  <c:v>Культура</c:v>
                </c:pt>
                <c:pt idx="3">
                  <c:v>Физ.культура и спорт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62.6</c:v>
                </c:pt>
                <c:pt idx="1">
                  <c:v>791.9</c:v>
                </c:pt>
                <c:pt idx="2">
                  <c:v>56</c:v>
                </c:pt>
                <c:pt idx="3">
                  <c:v>22.7</c:v>
                </c:pt>
              </c:numCache>
            </c:numRef>
          </c:val>
        </c:ser>
        <c:shape val="cylinder"/>
        <c:axId val="151721856"/>
        <c:axId val="151723392"/>
        <c:axId val="0"/>
      </c:bar3DChart>
      <c:catAx>
        <c:axId val="15172185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51723392"/>
        <c:crosses val="autoZero"/>
        <c:auto val="1"/>
        <c:lblAlgn val="ctr"/>
        <c:lblOffset val="100"/>
        <c:tickLblSkip val="1"/>
        <c:tickMarkSkip val="1"/>
      </c:catAx>
      <c:valAx>
        <c:axId val="151723392"/>
        <c:scaling>
          <c:orientation val="minMax"/>
          <c:min val="0"/>
        </c:scaling>
        <c:delete val="1"/>
        <c:axPos val="l"/>
        <c:numFmt formatCode="General" sourceLinked="1"/>
        <c:majorTickMark val="none"/>
        <c:tickLblPos val="none"/>
        <c:crossAx val="151721856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legend>
      <c:legendPos val="r"/>
      <c:layout/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519382601990364"/>
          <c:y val="0.15394777443679936"/>
          <c:w val="0.64375000000003213"/>
          <c:h val="0.9656250000000347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gradFill rotWithShape="1">
                <a:gsLst>
                  <a:gs pos="0">
                    <a:schemeClr val="accent4">
                      <a:tint val="98000"/>
                      <a:shade val="25000"/>
                      <a:satMod val="250000"/>
                    </a:schemeClr>
                  </a:gs>
                  <a:gs pos="68000">
                    <a:schemeClr val="accent4">
                      <a:tint val="86000"/>
                      <a:satMod val="115000"/>
                    </a:schemeClr>
                  </a:gs>
                  <a:gs pos="100000">
                    <a:schemeClr val="accent4">
                      <a:tint val="50000"/>
                      <a:satMod val="150000"/>
                    </a:schemeClr>
                  </a:gs>
                </a:gsLst>
                <a:path path="circle">
                  <a:fillToRect l="50000" t="130000" r="50000" b="-30000"/>
                </a:path>
              </a:gradFill>
              <a:ln w="9525" cap="flat" cmpd="sng" algn="ctr">
                <a:solidFill>
                  <a:schemeClr val="accent4">
                    <a:shade val="50000"/>
                    <a:satMod val="103000"/>
                  </a:schemeClr>
                </a:solidFill>
                <a:prstDash val="solid"/>
              </a:ln>
              <a:effectLst>
                <a:outerShdw blurRad="57150" dist="38100" dir="5400000" algn="ctr" rotWithShape="0">
                  <a:schemeClr val="accent4">
                    <a:shade val="9000"/>
                    <a:satMod val="105000"/>
                    <a:alpha val="48000"/>
                  </a:schemeClr>
                </a:outerShdw>
              </a:effectLst>
              <a:scene3d>
                <a:camera prst="orthographicFront"/>
                <a:lightRig rig="threePt" dir="t"/>
              </a:scene3d>
              <a:sp3d>
                <a:bevelT prst="angle"/>
              </a:sp3d>
            </c:spPr>
          </c:dPt>
          <c:dPt>
            <c:idx val="1"/>
            <c:spPr>
              <a:gradFill rotWithShape="1">
                <a:gsLst>
                  <a:gs pos="0">
                    <a:schemeClr val="accent2">
                      <a:tint val="98000"/>
                      <a:shade val="25000"/>
                      <a:satMod val="250000"/>
                    </a:schemeClr>
                  </a:gs>
                  <a:gs pos="68000">
                    <a:schemeClr val="accent2">
                      <a:tint val="86000"/>
                      <a:satMod val="115000"/>
                    </a:schemeClr>
                  </a:gs>
                  <a:gs pos="100000">
                    <a:schemeClr val="accent2">
                      <a:tint val="50000"/>
                      <a:satMod val="150000"/>
                    </a:schemeClr>
                  </a:gs>
                </a:gsLst>
                <a:path path="circle">
                  <a:fillToRect l="50000" t="130000" r="50000" b="-30000"/>
                </a:path>
              </a:gradFill>
              <a:ln w="9525" cap="flat" cmpd="sng" algn="ctr">
                <a:solidFill>
                  <a:schemeClr val="accent2">
                    <a:shade val="50000"/>
                    <a:satMod val="103000"/>
                  </a:schemeClr>
                </a:solidFill>
                <a:prstDash val="solid"/>
              </a:ln>
              <a:effectLst>
                <a:outerShdw blurRad="57150" dist="38100" dir="5400000" algn="ctr" rotWithShape="0">
                  <a:schemeClr val="accent2">
                    <a:shade val="9000"/>
                    <a:satMod val="105000"/>
                    <a:alpha val="48000"/>
                  </a:schemeClr>
                </a:outerShdw>
              </a:effectLst>
              <a:scene3d>
                <a:camera prst="orthographicFront"/>
                <a:lightRig rig="threePt" dir="t"/>
              </a:scene3d>
              <a:sp3d>
                <a:bevelT prst="angle"/>
              </a:sp3d>
            </c:spPr>
          </c:dPt>
          <c:dLbls>
            <c:dLbl>
              <c:idx val="0"/>
              <c:layout>
                <c:manualLayout>
                  <c:x val="-2.8287902360525093E-2"/>
                  <c:y val="3.5228137418175496E-6"/>
                </c:manualLayout>
              </c:layout>
              <c:spPr>
                <a:gradFill rotWithShape="1">
                  <a:gsLst>
                    <a:gs pos="0">
                      <a:schemeClr val="accent4">
                        <a:tint val="98000"/>
                        <a:shade val="25000"/>
                        <a:satMod val="250000"/>
                      </a:schemeClr>
                    </a:gs>
                    <a:gs pos="68000">
                      <a:schemeClr val="accent4">
                        <a:tint val="86000"/>
                        <a:satMod val="115000"/>
                      </a:schemeClr>
                    </a:gs>
                    <a:gs pos="100000">
                      <a:schemeClr val="accent4">
                        <a:tint val="50000"/>
                        <a:satMod val="150000"/>
                      </a:schemeClr>
                    </a:gs>
                  </a:gsLst>
                  <a:path path="circle">
                    <a:fillToRect l="50000" t="130000" r="50000" b="-30000"/>
                  </a:path>
                </a:gradFill>
                <a:ln w="9525" cap="flat" cmpd="sng" algn="ctr">
                  <a:solidFill>
                    <a:schemeClr val="accent4">
                      <a:shade val="50000"/>
                      <a:satMod val="103000"/>
                    </a:schemeClr>
                  </a:solidFill>
                  <a:prstDash val="solid"/>
                </a:ln>
                <a:effectLst>
                  <a:outerShdw blurRad="57150" dist="38100" dir="5400000" algn="ctr" rotWithShape="0">
                    <a:schemeClr val="accent4">
                      <a:shade val="9000"/>
                      <a:satMod val="105000"/>
                      <a:alpha val="48000"/>
                    </a:schemeClr>
                  </a:outerShdw>
                </a:effectLst>
              </c:spPr>
              <c:txPr>
                <a:bodyPr/>
                <a:lstStyle/>
                <a:p>
                  <a:pPr>
                    <a:defRPr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Val val="1"/>
            </c:dLbl>
            <c:dLbl>
              <c:idx val="1"/>
              <c:layout>
                <c:manualLayout>
                  <c:x val="-0.28884918928162756"/>
                  <c:y val="1.1187575740495719E-2"/>
                </c:manualLayout>
              </c:layout>
              <c:dLblPos val="outEnd"/>
              <c:showVal val="1"/>
            </c:dLbl>
            <c:spPr>
              <a:gradFill rotWithShape="1">
                <a:gsLst>
                  <a:gs pos="0">
                    <a:schemeClr val="accent5">
                      <a:tint val="98000"/>
                      <a:shade val="25000"/>
                      <a:satMod val="250000"/>
                    </a:schemeClr>
                  </a:gs>
                  <a:gs pos="68000">
                    <a:schemeClr val="accent5">
                      <a:tint val="86000"/>
                      <a:satMod val="115000"/>
                    </a:schemeClr>
                  </a:gs>
                  <a:gs pos="100000">
                    <a:schemeClr val="accent5">
                      <a:tint val="50000"/>
                      <a:satMod val="150000"/>
                    </a:schemeClr>
                  </a:gs>
                </a:gsLst>
                <a:path path="circle">
                  <a:fillToRect l="50000" t="130000" r="50000" b="-30000"/>
                </a:path>
              </a:gradFill>
              <a:ln w="9525" cap="flat" cmpd="sng" algn="ctr">
                <a:solidFill>
                  <a:schemeClr val="accent5">
                    <a:shade val="50000"/>
                    <a:satMod val="103000"/>
                  </a:schemeClr>
                </a:solidFill>
                <a:prstDash val="solid"/>
              </a:ln>
              <a:effectLst>
                <a:outerShdw blurRad="57150" dist="38100" dir="5400000" algn="ctr" rotWithShape="0">
                  <a:schemeClr val="accent5">
                    <a:shade val="9000"/>
                    <a:satMod val="105000"/>
                    <a:alpha val="48000"/>
                  </a:schemeClr>
                </a:outerShdw>
              </a:effectLst>
            </c:spPr>
            <c:txPr>
              <a:bodyPr/>
              <a:lstStyle/>
              <a:p>
                <a:pPr>
                  <a:defRPr b="1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trendline>
            <c:trendlineType val="linear"/>
          </c:trendline>
          <c:cat>
            <c:strRef>
              <c:f>Лист1!$A$2:$A$3</c:f>
              <c:strCache>
                <c:ptCount val="2"/>
                <c:pt idx="0">
                  <c:v>01.01.2022</c:v>
                </c:pt>
                <c:pt idx="1">
                  <c:v>01.01.2023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3890</c:v>
                </c:pt>
                <c:pt idx="1">
                  <c:v>16242</c:v>
                </c:pt>
              </c:numCache>
            </c:numRef>
          </c:val>
        </c:ser>
        <c:gapWidth val="10"/>
        <c:overlap val="18"/>
        <c:axId val="193617920"/>
        <c:axId val="193619456"/>
      </c:barChart>
      <c:catAx>
        <c:axId val="193617920"/>
        <c:scaling>
          <c:orientation val="maxMin"/>
        </c:scaling>
        <c:axPos val="l"/>
        <c:numFmt formatCode="General" sourceLinked="1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8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93619456"/>
        <c:crosses val="autoZero"/>
        <c:auto val="1"/>
        <c:lblAlgn val="ctr"/>
        <c:lblOffset val="100"/>
      </c:catAx>
      <c:valAx>
        <c:axId val="193619456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19361792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2406969962088134E-2"/>
          <c:y val="7.5463460497890822E-2"/>
          <c:w val="0.9575256120640514"/>
          <c:h val="0.84992360417317836"/>
        </c:manualLayout>
      </c:layout>
      <c:lineChart>
        <c:grouping val="standard"/>
        <c:marker val="1"/>
        <c:axId val="192769408"/>
        <c:axId val="192771200"/>
      </c:lineChart>
      <c:catAx>
        <c:axId val="19276940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rgbClr val="5C5C5C"/>
                </a:solidFill>
                <a:latin typeface="Calibri" pitchFamily="34" charset="0"/>
                <a:cs typeface="Times New Roman" pitchFamily="18" charset="0"/>
              </a:defRPr>
            </a:pPr>
            <a:endParaRPr lang="ru-RU"/>
          </a:p>
        </c:txPr>
        <c:crossAx val="192771200"/>
        <c:crosses val="autoZero"/>
        <c:auto val="1"/>
        <c:lblAlgn val="ctr"/>
        <c:lblOffset val="100"/>
      </c:catAx>
      <c:valAx>
        <c:axId val="192771200"/>
        <c:scaling>
          <c:orientation val="minMax"/>
        </c:scaling>
        <c:delete val="1"/>
        <c:axPos val="l"/>
        <c:numFmt formatCode="_-* #,##0.0_р_._-;\-* #,##0.0_р_._-;_-* &quot;-&quot;?_р_._-;_-@_-" sourceLinked="1"/>
        <c:tickLblPos val="none"/>
        <c:crossAx val="1927694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solidFill>
      <a:schemeClr val="accent5">
        <a:lumMod val="40000"/>
        <a:lumOff val="60000"/>
      </a:schemeClr>
    </a:solidFill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1944006999125108E-2"/>
          <c:y val="5.8837159662271085E-2"/>
          <c:w val="0.95752561206404496"/>
          <c:h val="0.71624971884662991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, млн. рублей</c:v>
                </c:pt>
              </c:strCache>
            </c:strRef>
          </c:tx>
          <c:spPr>
            <a:ln w="76200"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circle"/>
            <c:size val="23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0"/>
              <c:layout>
                <c:manualLayout>
                  <c:x val="-1.0104986876640378E-3"/>
                  <c:y val="-5.652096575277476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9,4</a:t>
                    </a:r>
                    <a:endParaRPr lang="en-US" dirty="0"/>
                  </a:p>
                </c:rich>
              </c:tx>
              <c:dLblPos val="r"/>
              <c:showVal val="1"/>
            </c:dLbl>
            <c:dLbl>
              <c:idx val="1"/>
              <c:layout>
                <c:manualLayout>
                  <c:x val="-3.7121609798775192E-2"/>
                  <c:y val="9.106939569300856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96,5</a:t>
                    </a:r>
                    <a:endParaRPr lang="en-US" dirty="0"/>
                  </a:p>
                </c:rich>
              </c:tx>
              <c:dLblPos val="r"/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50,8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3"/>
              <c:layout>
                <c:manualLayout>
                  <c:x val="-2.6010498687664255E-2"/>
                  <c:y val="-6.856915852385904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2,1</a:t>
                    </a:r>
                    <a:endParaRPr lang="en-US" dirty="0"/>
                  </a:p>
                </c:rich>
              </c:tx>
              <c:dLblPos val="r"/>
              <c:showVal val="1"/>
            </c:dLbl>
            <c:dLbl>
              <c:idx val="4"/>
              <c:layout>
                <c:manualLayout>
                  <c:x val="-3.8131561679790031E-2"/>
                  <c:y val="-7.767479366284034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0,1</a:t>
                    </a:r>
                    <a:endParaRPr lang="en-US" dirty="0"/>
                  </a:p>
                </c:rich>
              </c:tx>
              <c:dLblPos val="r"/>
              <c:showVal val="1"/>
            </c:dLbl>
            <c:dLbl>
              <c:idx val="5"/>
              <c:layout>
                <c:manualLayout>
                  <c:x val="-4.6097440944882113E-2"/>
                  <c:y val="-8.294469215444476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4,2</a:t>
                    </a:r>
                    <a:endParaRPr lang="en-US" dirty="0"/>
                  </a:p>
                </c:rich>
              </c:tx>
              <c:dLblPos val="r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ru-RU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21
(отчет)</c:v>
                </c:pt>
                <c:pt idx="1">
                  <c:v>2022 
(отчет)</c:v>
                </c:pt>
                <c:pt idx="2">
                  <c:v>2023 
(оценка)</c:v>
                </c:pt>
                <c:pt idx="3">
                  <c:v>2024 
(проект)</c:v>
                </c:pt>
                <c:pt idx="4">
                  <c:v>2025 
(проект)</c:v>
                </c:pt>
                <c:pt idx="5">
                  <c:v>2026 
(проект)</c:v>
                </c:pt>
              </c:strCache>
            </c:strRef>
          </c:cat>
          <c:val>
            <c:numRef>
              <c:f>Лист1!$B$2:$B$7</c:f>
              <c:numCache>
                <c:formatCode>_-* #,##0.0_р_._-;\-* #,##0.0_р_._-;_-* "-"?_р_._-;_-@_-</c:formatCode>
                <c:ptCount val="6"/>
                <c:pt idx="0">
                  <c:v>89.4</c:v>
                </c:pt>
                <c:pt idx="1">
                  <c:v>96.5</c:v>
                </c:pt>
                <c:pt idx="2">
                  <c:v>50.8</c:v>
                </c:pt>
                <c:pt idx="3">
                  <c:v>22.1</c:v>
                </c:pt>
                <c:pt idx="4">
                  <c:v>20.100000000000001</c:v>
                </c:pt>
                <c:pt idx="5">
                  <c:v>14.2</c:v>
                </c:pt>
              </c:numCache>
            </c:numRef>
          </c:val>
        </c:ser>
        <c:marker val="1"/>
        <c:axId val="198904064"/>
        <c:axId val="198926336"/>
      </c:lineChart>
      <c:catAx>
        <c:axId val="19890406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rgbClr val="5C5C5C"/>
                </a:solidFill>
                <a:latin typeface="Calibri" pitchFamily="34" charset="0"/>
                <a:cs typeface="Times New Roman" pitchFamily="18" charset="0"/>
              </a:defRPr>
            </a:pPr>
            <a:endParaRPr lang="ru-RU"/>
          </a:p>
        </c:txPr>
        <c:crossAx val="198926336"/>
        <c:crosses val="autoZero"/>
        <c:auto val="1"/>
        <c:lblAlgn val="ctr"/>
        <c:lblOffset val="100"/>
      </c:catAx>
      <c:valAx>
        <c:axId val="198926336"/>
        <c:scaling>
          <c:orientation val="minMax"/>
        </c:scaling>
        <c:delete val="1"/>
        <c:axPos val="l"/>
        <c:numFmt formatCode="_-* #,##0.0_р_._-;\-* #,##0.0_р_._-;_-* &quot;-&quot;?_р_._-;_-@_-" sourceLinked="1"/>
        <c:tickLblPos val="none"/>
        <c:crossAx val="19890406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5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3.6897016386290428E-2"/>
          <c:y val="3.1040347118625813E-2"/>
          <c:w val="0.96310298361371061"/>
          <c:h val="0.8748849596297871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0"/>
          <c:dPt>
            <c:idx val="0"/>
            <c:explosion val="0"/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Программная часть 95,6 %</c:v>
                </c:pt>
                <c:pt idx="1">
                  <c:v>Непрограммная часть 4,4 %</c:v>
                </c:pt>
              </c:strCache>
            </c:strRef>
          </c:cat>
          <c:val>
            <c:numRef>
              <c:f>Лист1!$B$2:$B$3</c:f>
              <c:numCache>
                <c:formatCode>0.0%</c:formatCode>
                <c:ptCount val="2"/>
                <c:pt idx="0" formatCode="0.00%">
                  <c:v>1.0000000000000063E-4</c:v>
                </c:pt>
                <c:pt idx="1">
                  <c:v>1.0000000000000041E-3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>
        <c:manualLayout>
          <c:xMode val="edge"/>
          <c:yMode val="edge"/>
          <c:x val="0"/>
          <c:y val="0.71686137429860064"/>
          <c:w val="0.99971491567991078"/>
          <c:h val="0.13922428906051071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0822543015456402E-2"/>
          <c:y val="0.23452824729314833"/>
          <c:w val="0.51285826771653542"/>
          <c:h val="0.3959858546805988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chemeClr val="tx1"/>
              </a:solidFill>
            </a:ln>
            <a:effectLst>
              <a:glow rad="228600">
                <a:schemeClr val="accent1">
                  <a:satMod val="175000"/>
                  <a:alpha val="40000"/>
                </a:schemeClr>
              </a:glo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13"/>
            <c:spPr>
              <a:solidFill>
                <a:schemeClr val="accent4">
                  <a:lumMod val="75000"/>
                </a:schemeClr>
              </a:solidFill>
              <a:ln>
                <a:solidFill>
                  <a:schemeClr val="tx1"/>
                </a:solidFill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spPr>
                <a:effectLst>
                  <a:glow rad="228600">
                    <a:schemeClr val="accent3">
                      <a:satMod val="175000"/>
                      <a:alpha val="40000"/>
                    </a:schemeClr>
                  </a:glow>
                </a:effectLst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</c:dLbl>
            <c:showVal val="1"/>
            <c:showLeaderLines val="1"/>
          </c:dLbls>
          <c:cat>
            <c:strRef>
              <c:f>Лист1!$A$2:$A$15</c:f>
              <c:strCache>
                <c:ptCount val="14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1,2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1,1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0 %</c:v>
                </c:pt>
                <c:pt idx="7">
                  <c:v>Развитие транспортной системы и охрана окружающей среды 16,8 %</c:v>
                </c:pt>
                <c:pt idx="8">
                  <c:v>Культура 2,6 %</c:v>
                </c:pt>
                <c:pt idx="9">
                  <c:v>Управление финансами 2,4%</c:v>
                </c:pt>
                <c:pt idx="10">
                  <c:v>Формирование современной городской среды 10,1 %</c:v>
                </c:pt>
                <c:pt idx="11">
                  <c:v>Развитие жилищно-коммунального хозяйства 9,9 %</c:v>
                </c:pt>
                <c:pt idx="12">
                  <c:v>Социальная поддержка населения 16,4%</c:v>
                </c:pt>
                <c:pt idx="13">
                  <c:v>Развитие образования 36,%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 formatCode="0.00%">
                  <c:v>1.0000000000000042E-4</c:v>
                </c:pt>
                <c:pt idx="1">
                  <c:v>1.0000000000000037E-3</c:v>
                </c:pt>
                <c:pt idx="2">
                  <c:v>2.1000000000000012E-2</c:v>
                </c:pt>
                <c:pt idx="3">
                  <c:v>1.2E-2</c:v>
                </c:pt>
                <c:pt idx="4">
                  <c:v>7.0000000000000114E-3</c:v>
                </c:pt>
                <c:pt idx="5">
                  <c:v>1.0000000000000005E-2</c:v>
                </c:pt>
                <c:pt idx="6">
                  <c:v>1.2E-2</c:v>
                </c:pt>
                <c:pt idx="7">
                  <c:v>1.0000000000000005E-2</c:v>
                </c:pt>
                <c:pt idx="8">
                  <c:v>2.5000000000000001E-2</c:v>
                </c:pt>
                <c:pt idx="9">
                  <c:v>1.9000000000000059E-2</c:v>
                </c:pt>
                <c:pt idx="10">
                  <c:v>5.6000000000000001E-2</c:v>
                </c:pt>
                <c:pt idx="11">
                  <c:v>6.7000000000000004E-2</c:v>
                </c:pt>
                <c:pt idx="12">
                  <c:v>0.10199999999999998</c:v>
                </c:pt>
                <c:pt idx="13">
                  <c:v>0.66100000000000225</c:v>
                </c:pt>
              </c:numCache>
            </c:numRef>
          </c:val>
        </c:ser>
        <c:firstSliceAng val="0"/>
        <c:holeSize val="50"/>
      </c:doughnutChart>
      <c:spPr>
        <a:effectLst>
          <a:glow rad="228600">
            <a:schemeClr val="accent1">
              <a:satMod val="175000"/>
              <a:alpha val="40000"/>
            </a:schemeClr>
          </a:glow>
        </a:effectLst>
        <a:scene3d>
          <a:camera prst="orthographicFront"/>
          <a:lightRig rig="threePt" dir="t"/>
        </a:scene3d>
        <a:sp3d>
          <a:bevelT/>
        </a:sp3d>
      </c:spPr>
    </c:plotArea>
    <c:legend>
      <c:legendPos val="r"/>
      <c:layout>
        <c:manualLayout>
          <c:xMode val="edge"/>
          <c:yMode val="edge"/>
          <c:x val="0.54980125400991564"/>
          <c:y val="0"/>
          <c:w val="0.45019874599008458"/>
          <c:h val="1"/>
        </c:manualLayout>
      </c:layout>
      <c:spPr>
        <a:gradFill flip="none" rotWithShape="1">
          <a:gsLst>
            <a:gs pos="0">
              <a:srgbClr val="3891A7">
                <a:lumMod val="60000"/>
                <a:lumOff val="40000"/>
                <a:shade val="30000"/>
                <a:satMod val="115000"/>
              </a:srgbClr>
            </a:gs>
            <a:gs pos="50000">
              <a:srgbClr val="3891A7">
                <a:lumMod val="60000"/>
                <a:lumOff val="40000"/>
                <a:shade val="67500"/>
                <a:satMod val="115000"/>
              </a:srgbClr>
            </a:gs>
            <a:gs pos="100000">
              <a:srgbClr val="3891A7">
                <a:lumMod val="60000"/>
                <a:lumOff val="40000"/>
                <a:shade val="100000"/>
                <a:satMod val="115000"/>
              </a:srgbClr>
            </a:gs>
          </a:gsLst>
          <a:lin ang="10800000" scaled="1"/>
          <a:tileRect/>
        </a:gradFill>
        <a:scene3d>
          <a:camera prst="orthographicFront"/>
          <a:lightRig rig="threePt" dir="t"/>
        </a:scene3d>
        <a:sp3d>
          <a:bevelT prst="relaxedInset"/>
        </a:sp3d>
      </c:spPr>
    </c:legend>
    <c:plotVisOnly val="1"/>
  </c:chart>
  <c:spPr>
    <a:solidFill>
      <a:schemeClr val="accent1">
        <a:lumMod val="40000"/>
        <a:lumOff val="60000"/>
      </a:schemeClr>
    </a:solidFill>
    <a:ln w="9525" cap="flat" cmpd="sng" algn="ctr">
      <a:solidFill>
        <a:schemeClr val="accent1"/>
      </a:solidFill>
      <a:prstDash val="solid"/>
    </a:ln>
    <a:effectLst>
      <a:outerShdw blurRad="63500" dist="25400" dir="5400000" rotWithShape="0">
        <a:srgbClr val="000000">
          <a:alpha val="43137"/>
        </a:srgbClr>
      </a:outerShdw>
    </a:effectLst>
    <a:scene3d>
      <a:camera prst="orthographicFront"/>
      <a:lightRig rig="brightRoom" dir="tl">
        <a:rot lat="0" lon="0" rev="8700000"/>
      </a:lightRig>
    </a:scene3d>
    <a:sp3d>
      <a:bevelT w="0" h="0"/>
      <a:contourClr>
        <a:srgbClr val="000000"/>
      </a:contourClr>
    </a:sp3d>
  </c:spPr>
  <c:txPr>
    <a:bodyPr/>
    <a:lstStyle/>
    <a:p>
      <a:pPr>
        <a:defRPr sz="1400" b="1">
          <a:solidFill>
            <a:schemeClr val="tx1"/>
          </a:solidFill>
          <a:latin typeface="Times New Roman" pitchFamily="18" charset="0"/>
          <a:ea typeface="+mn-ea"/>
          <a:cs typeface="Times New Roman" pitchFamily="18" charset="0"/>
        </a:defRPr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8.1632361553514568E-2"/>
          <c:y val="2.1027331919068405E-2"/>
          <c:w val="0.85677884272022165"/>
          <c:h val="0.8840135682735040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овые доходы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dLbl>
              <c:idx val="0"/>
              <c:layout>
                <c:manualLayout>
                  <c:x val="8.8888266748789246E-2"/>
                  <c:y val="4.0143088209130588E-2"/>
                </c:manualLayout>
              </c:layout>
              <c:showVal val="1"/>
            </c:dLbl>
            <c:dLbl>
              <c:idx val="1"/>
              <c:layout>
                <c:manualLayout>
                  <c:x val="9.4685327623710208E-2"/>
                  <c:y val="3.4408361322111981E-2"/>
                </c:manualLayout>
              </c:layout>
              <c:showVal val="1"/>
            </c:dLbl>
            <c:dLbl>
              <c:idx val="2"/>
              <c:layout>
                <c:manualLayout>
                  <c:x val="9.6617681248683876E-2"/>
                  <c:y val="5.7347268870186711E-3"/>
                </c:manualLayout>
              </c:layout>
              <c:showVal val="1"/>
            </c:dLbl>
            <c:dLbl>
              <c:idx val="3"/>
              <c:layout>
                <c:manualLayout>
                  <c:x val="8.6955913123815523E-2"/>
                  <c:y val="2.2938907548074775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387.6</c:v>
                </c:pt>
                <c:pt idx="1">
                  <c:v>423.3</c:v>
                </c:pt>
                <c:pt idx="2">
                  <c:v>445.3</c:v>
                </c:pt>
                <c:pt idx="3">
                  <c:v>468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еналоговые доходы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dLbl>
              <c:idx val="0"/>
              <c:layout>
                <c:manualLayout>
                  <c:x val="5.4105901499262969E-2"/>
                  <c:y val="-1.1469453774037318E-2"/>
                </c:manualLayout>
              </c:layout>
              <c:showVal val="1"/>
            </c:dLbl>
            <c:dLbl>
              <c:idx val="1"/>
              <c:layout>
                <c:manualLayout>
                  <c:x val="4.2511779749420914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4.637648699936843E-2"/>
                  <c:y val="-1.9115756290062262E-3"/>
                </c:manualLayout>
              </c:layout>
              <c:showVal val="1"/>
            </c:dLbl>
            <c:dLbl>
              <c:idx val="3"/>
              <c:layout>
                <c:manualLayout>
                  <c:x val="5.4105901499262969E-2"/>
                  <c:y val="-1.3381029403043561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C$2:$C$5</c:f>
              <c:numCache>
                <c:formatCode>#,##0.0</c:formatCode>
                <c:ptCount val="4"/>
                <c:pt idx="0">
                  <c:v>74.8</c:v>
                </c:pt>
                <c:pt idx="1">
                  <c:v>52.4</c:v>
                </c:pt>
                <c:pt idx="2">
                  <c:v>52.4</c:v>
                </c:pt>
                <c:pt idx="3">
                  <c:v>52.4</c:v>
                </c:pt>
              </c:numCache>
            </c:numRef>
          </c:val>
        </c:ser>
        <c:shape val="cylinder"/>
        <c:axId val="148561280"/>
        <c:axId val="113198208"/>
        <c:axId val="0"/>
      </c:bar3DChart>
      <c:catAx>
        <c:axId val="148561280"/>
        <c:scaling>
          <c:orientation val="minMax"/>
        </c:scaling>
        <c:axPos val="b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13198208"/>
        <c:crosses val="autoZero"/>
        <c:auto val="1"/>
        <c:lblAlgn val="ctr"/>
        <c:lblOffset val="100"/>
      </c:catAx>
      <c:valAx>
        <c:axId val="113198208"/>
        <c:scaling>
          <c:orientation val="minMax"/>
        </c:scaling>
        <c:delete val="1"/>
        <c:axPos val="l"/>
        <c:numFmt formatCode="#,##0.0" sourceLinked="1"/>
        <c:tickLblPos val="none"/>
        <c:crossAx val="148561280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4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400" b="1"/>
            </a:pPr>
            <a:endParaRPr lang="ru-RU"/>
          </a:p>
        </c:txPr>
      </c:legendEntry>
      <c:layout>
        <c:manualLayout>
          <c:xMode val="edge"/>
          <c:yMode val="edge"/>
          <c:x val="5.3065169310694466E-2"/>
          <c:y val="1.2729287475988697E-3"/>
          <c:w val="0.51988472910625561"/>
          <c:h val="0.12768708078920679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9.0763779527559096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solidFill>
              <a:schemeClr val="accent2"/>
            </a:solidFill>
            <a:ln w="25400" cap="flat" cmpd="sng" algn="ctr">
              <a:solidFill>
                <a:schemeClr val="accent2">
                  <a:shade val="50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-2.3611111111111211E-2"/>
                  <c:y val="-4.8459742164581855E-2"/>
                </c:manualLayout>
              </c:layout>
              <c:showVal val="1"/>
            </c:dLbl>
            <c:dLbl>
              <c:idx val="1"/>
              <c:layout>
                <c:manualLayout>
                  <c:x val="1.5277777777777781E-2"/>
                  <c:y val="-4.2969739076733113E-2"/>
                </c:manualLayout>
              </c:layout>
              <c:showVal val="1"/>
            </c:dLbl>
            <c:dLbl>
              <c:idx val="2"/>
              <c:layout>
                <c:manualLayout>
                  <c:x val="9.7222222222222224E-3"/>
                  <c:y val="-4.7764352498414125E-2"/>
                </c:manualLayout>
              </c:layout>
              <c:showVal val="1"/>
            </c:dLbl>
            <c:dLbl>
              <c:idx val="3"/>
              <c:layout>
                <c:manualLayout>
                  <c:x val="1.1111111111111125E-2"/>
                  <c:y val="-4.3783989790212953E-2"/>
                </c:manualLayout>
              </c:layout>
              <c:showVal val="1"/>
            </c:dLbl>
            <c:dLbl>
              <c:idx val="4"/>
              <c:layout>
                <c:manualLayout>
                  <c:x val="9.7222222222222224E-3"/>
                  <c:y val="-4.1793808436112363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23 (факт)</c:v>
                </c:pt>
                <c:pt idx="1">
                  <c:v>на 01.01.2024 (оценка)</c:v>
                </c:pt>
                <c:pt idx="2">
                  <c:v>на 01.01.2025 (прогноз)</c:v>
                </c:pt>
                <c:pt idx="3">
                  <c:v>на 01.01.2026 (прогноз)</c:v>
                </c:pt>
                <c:pt idx="4">
                  <c:v>на 01.01.2027 (прогноз)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207599104"/>
        <c:axId val="207600640"/>
        <c:axId val="143058688"/>
      </c:area3DChart>
      <c:catAx>
        <c:axId val="207599104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207600640"/>
        <c:crosses val="autoZero"/>
        <c:auto val="1"/>
        <c:lblAlgn val="ctr"/>
        <c:lblOffset val="100"/>
      </c:catAx>
      <c:valAx>
        <c:axId val="207600640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207599104"/>
        <c:crosses val="autoZero"/>
        <c:crossBetween val="midCat"/>
      </c:valAx>
      <c:serAx>
        <c:axId val="143058688"/>
        <c:scaling>
          <c:orientation val="minMax"/>
        </c:scaling>
        <c:delete val="1"/>
        <c:axPos val="b"/>
        <c:tickLblPos val="none"/>
        <c:crossAx val="207600640"/>
        <c:crosses val="autoZero"/>
      </c:serAx>
      <c:spPr>
        <a:solidFill>
          <a:schemeClr val="accent5">
            <a:lumMod val="40000"/>
            <a:lumOff val="60000"/>
          </a:schemeClr>
        </a:solidFill>
      </c:spPr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2067298647854222"/>
          <c:y val="1.7131080389144904E-2"/>
          <c:w val="0.83389520870076461"/>
          <c:h val="0.65966641065028331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акцизы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dLbl>
              <c:idx val="0"/>
              <c:layout>
                <c:manualLayout>
                  <c:x val="1.6092886537331017E-2"/>
                  <c:y val="1.5757552483358937E-2"/>
                </c:manualLayout>
              </c:layout>
              <c:showVal val="1"/>
            </c:dLbl>
            <c:dLbl>
              <c:idx val="1"/>
              <c:layout>
                <c:manualLayout>
                  <c:x val="6.9575249853027748E-3"/>
                  <c:y val="8.3970814132104526E-3"/>
                </c:manualLayout>
              </c:layout>
              <c:showVal val="1"/>
            </c:dLbl>
            <c:dLbl>
              <c:idx val="2"/>
              <c:layout>
                <c:manualLayout>
                  <c:x val="1.63561140505585E-2"/>
                  <c:y val="2.4833589349718384E-3"/>
                </c:manualLayout>
              </c:layout>
              <c:showVal val="1"/>
            </c:dLbl>
            <c:dLbl>
              <c:idx val="3"/>
              <c:layout>
                <c:manualLayout>
                  <c:x val="2.9548556430446168E-2"/>
                  <c:y val="-1.8242177467864466E-4"/>
                </c:manualLayout>
              </c:layout>
              <c:showVal val="1"/>
            </c:dLbl>
            <c:showVal val="1"/>
          </c:dLbls>
          <c:cat>
            <c:numRef>
              <c:f>Лист1!$A$2:$A$5</c:f>
              <c:numCache>
                <c:formatCode>@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8.2000000000000011</c:v>
                </c:pt>
                <c:pt idx="1">
                  <c:v>7.7</c:v>
                </c:pt>
                <c:pt idx="2">
                  <c:v>8</c:v>
                </c:pt>
                <c:pt idx="3">
                  <c:v>10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госпошлина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dLbls>
            <c:dLbl>
              <c:idx val="0"/>
              <c:layout>
                <c:manualLayout>
                  <c:x val="2.7974279835390952E-2"/>
                  <c:y val="1.5362263184843831E-3"/>
                </c:manualLayout>
              </c:layout>
              <c:showVal val="1"/>
            </c:dLbl>
            <c:dLbl>
              <c:idx val="1"/>
              <c:layout>
                <c:manualLayout>
                  <c:x val="4.2511779749420914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4.6376486999368444E-2"/>
                  <c:y val="-1.9115756290062275E-3"/>
                </c:manualLayout>
              </c:layout>
              <c:showVal val="1"/>
            </c:dLbl>
            <c:dLbl>
              <c:idx val="3"/>
              <c:layout>
                <c:manualLayout>
                  <c:x val="2.4241181657848332E-2"/>
                  <c:y val="-6.8783922171019064E-3"/>
                </c:manualLayout>
              </c:layout>
              <c:showVal val="1"/>
            </c:dLbl>
            <c:showVal val="1"/>
          </c:dLbls>
          <c:cat>
            <c:numRef>
              <c:f>Лист1!$A$2:$A$5</c:f>
              <c:numCache>
                <c:formatCode>@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Лист1!$C$2:$C$5</c:f>
              <c:numCache>
                <c:formatCode>#,##0.0</c:formatCode>
                <c:ptCount val="4"/>
                <c:pt idx="0">
                  <c:v>7.8</c:v>
                </c:pt>
                <c:pt idx="1">
                  <c:v>8.7000000000000011</c:v>
                </c:pt>
                <c:pt idx="2">
                  <c:v>8.9</c:v>
                </c:pt>
                <c:pt idx="3">
                  <c:v>9.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и на совокупный доход</c:v>
                </c:pt>
              </c:strCache>
            </c:strRef>
          </c:tx>
          <c:dLbls>
            <c:showVal val="1"/>
          </c:dLbls>
          <c:cat>
            <c:numRef>
              <c:f>Лист1!$A$2:$A$5</c:f>
              <c:numCache>
                <c:formatCode>@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Лист1!$D$2:$D$5</c:f>
              <c:numCache>
                <c:formatCode>#,##0.0</c:formatCode>
                <c:ptCount val="4"/>
                <c:pt idx="0">
                  <c:v>53.8</c:v>
                </c:pt>
                <c:pt idx="1">
                  <c:v>60.9</c:v>
                </c:pt>
                <c:pt idx="2">
                  <c:v>68</c:v>
                </c:pt>
                <c:pt idx="3">
                  <c:v>75.09999999999999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налоги на имущество</c:v>
                </c:pt>
              </c:strCache>
            </c:strRef>
          </c:tx>
          <c:spPr>
            <a:solidFill>
              <a:srgbClr val="CCCCFF"/>
            </a:solidFill>
          </c:spPr>
          <c:dLbls>
            <c:dLbl>
              <c:idx val="0"/>
              <c:layout>
                <c:manualLayout>
                  <c:x val="7.0370370370370375E-2"/>
                  <c:y val="-3.3356374807987713E-3"/>
                </c:manualLayout>
              </c:layout>
              <c:showVal val="1"/>
            </c:dLbl>
            <c:dLbl>
              <c:idx val="1"/>
              <c:layout>
                <c:manualLayout>
                  <c:x val="5.5496766607877723E-2"/>
                  <c:y val="-1.4571172555043522E-3"/>
                </c:manualLayout>
              </c:layout>
              <c:showVal val="1"/>
            </c:dLbl>
            <c:dLbl>
              <c:idx val="2"/>
              <c:layout>
                <c:manualLayout>
                  <c:x val="6.2918871252204592E-2"/>
                  <c:y val="-6.5028161802355424E-3"/>
                </c:manualLayout>
              </c:layout>
              <c:showVal val="1"/>
            </c:dLbl>
            <c:dLbl>
              <c:idx val="3"/>
              <c:layout>
                <c:manualLayout>
                  <c:x val="6.8474426807760183E-2"/>
                  <c:y val="-4.8771121351766514E-3"/>
                </c:manualLayout>
              </c:layout>
              <c:showVal val="1"/>
            </c:dLbl>
            <c:showVal val="1"/>
          </c:dLbls>
          <c:cat>
            <c:numRef>
              <c:f>Лист1!$A$2:$A$5</c:f>
              <c:numCache>
                <c:formatCode>@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Лист1!$E$2:$E$5</c:f>
              <c:numCache>
                <c:formatCode>#,##0.0</c:formatCode>
                <c:ptCount val="4"/>
                <c:pt idx="0">
                  <c:v>37</c:v>
                </c:pt>
                <c:pt idx="1">
                  <c:v>45.1</c:v>
                </c:pt>
                <c:pt idx="2">
                  <c:v>49.4</c:v>
                </c:pt>
                <c:pt idx="3">
                  <c:v>53.9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НДФЛ</c:v>
                </c:pt>
              </c:strCache>
            </c:strRef>
          </c:tx>
          <c:dLbls>
            <c:showVal val="1"/>
          </c:dLbls>
          <c:cat>
            <c:numRef>
              <c:f>Лист1!$A$2:$A$5</c:f>
              <c:numCache>
                <c:formatCode>@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Лист1!$F$2:$F$5</c:f>
              <c:numCache>
                <c:formatCode>#,##0.0</c:formatCode>
                <c:ptCount val="4"/>
                <c:pt idx="0">
                  <c:v>222</c:v>
                </c:pt>
                <c:pt idx="1">
                  <c:v>230.5</c:v>
                </c:pt>
                <c:pt idx="2">
                  <c:v>233.8</c:v>
                </c:pt>
                <c:pt idx="3">
                  <c:v>234.9</c:v>
                </c:pt>
              </c:numCache>
            </c:numRef>
          </c:val>
        </c:ser>
        <c:shape val="cylinder"/>
        <c:axId val="150617088"/>
        <c:axId val="150643456"/>
        <c:axId val="0"/>
      </c:bar3DChart>
      <c:catAx>
        <c:axId val="150617088"/>
        <c:scaling>
          <c:orientation val="minMax"/>
        </c:scaling>
        <c:axPos val="l"/>
        <c:numFmt formatCode="@" sourceLinked="1"/>
        <c:tickLblPos val="nextTo"/>
        <c:txPr>
          <a:bodyPr/>
          <a:lstStyle/>
          <a:p>
            <a:pPr>
              <a:defRPr sz="1400" b="0" kern="900" baseline="0"/>
            </a:pPr>
            <a:endParaRPr lang="ru-RU"/>
          </a:p>
        </c:txPr>
        <c:crossAx val="150643456"/>
        <c:crosses val="autoZero"/>
        <c:auto val="1"/>
        <c:lblAlgn val="ctr"/>
        <c:lblOffset val="100"/>
      </c:catAx>
      <c:valAx>
        <c:axId val="150643456"/>
        <c:scaling>
          <c:orientation val="minMax"/>
        </c:scaling>
        <c:delete val="1"/>
        <c:axPos val="b"/>
        <c:numFmt formatCode="#,##0.0" sourceLinked="1"/>
        <c:tickLblPos val="none"/>
        <c:crossAx val="150617088"/>
        <c:crosses val="autoZero"/>
        <c:crossBetween val="between"/>
      </c:valAx>
    </c:plotArea>
    <c:legend>
      <c:legendPos val="r"/>
      <c:legendEntry>
        <c:idx val="4"/>
        <c:txPr>
          <a:bodyPr/>
          <a:lstStyle/>
          <a:p>
            <a:pPr>
              <a:defRPr sz="14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400" b="1"/>
            </a:pPr>
            <a:endParaRPr lang="ru-RU"/>
          </a:p>
        </c:txPr>
      </c:legendEntry>
      <c:layout>
        <c:manualLayout>
          <c:xMode val="edge"/>
          <c:yMode val="edge"/>
          <c:x val="0.14621634332745501"/>
          <c:y val="0.7225023041474643"/>
          <c:w val="0.7562463256907711"/>
          <c:h val="0.22872657450076805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24 год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0.14281731478111698"/>
          <c:y val="0.2488064695345199"/>
          <c:w val="0.61560062960578965"/>
          <c:h val="0.6802541443253433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glow" dir="tl">
                <a:rot lat="0" lon="0" rev="900000"/>
              </a:lightRig>
            </a:scene3d>
            <a:sp3d prstMaterial="powder">
              <a:bevelT w="25400" h="38100"/>
            </a:sp3d>
          </c:spPr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/>
                <a:lightRig rig="glow" dir="tl">
                  <a:rot lat="0" lon="0" rev="900000"/>
                </a:lightRig>
              </a:scene3d>
              <a:sp3d prstMaterial="powder">
                <a:bevelT w="25400" h="38100"/>
              </a:sp3d>
            </c:spPr>
          </c:dPt>
          <c:dLbls>
            <c:showVal val="1"/>
            <c:showLeaderLines val="1"/>
          </c:dLbls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5</c:v>
                </c:pt>
                <c:pt idx="1">
                  <c:v>45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25</a:t>
            </a:r>
            <a:r>
              <a:rPr lang="ru-RU" sz="2400" baseline="0" dirty="0" smtClean="0">
                <a:latin typeface="Times New Roman" pitchFamily="18" charset="0"/>
                <a:cs typeface="Times New Roman" pitchFamily="18" charset="0"/>
              </a:rPr>
              <a:t> год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66016663998117864"/>
          <c:y val="2.5184221589421851E-2"/>
        </c:manualLayout>
      </c:layout>
    </c:title>
    <c:plotArea>
      <c:layout>
        <c:manualLayout>
          <c:layoutTarget val="inner"/>
          <c:xMode val="edge"/>
          <c:yMode val="edge"/>
          <c:x val="0.35560939289347138"/>
          <c:y val="0.22717566281250867"/>
          <c:w val="0.61849469203398721"/>
          <c:h val="0.6494194266356860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glow" dir="tl">
                <a:rot lat="0" lon="0" rev="900000"/>
              </a:lightRig>
            </a:scene3d>
            <a:sp3d prstMaterial="powder">
              <a:bevelT w="25400" h="38100" prst="relaxedInset"/>
            </a:sp3d>
          </c:spPr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/>
                <a:lightRig rig="glow" dir="tl">
                  <a:rot lat="0" lon="0" rev="900000"/>
                </a:lightRig>
              </a:scene3d>
              <a:sp3d prstMaterial="powder">
                <a:bevelT w="25400" h="38100" prst="relaxedInset"/>
              </a:sp3d>
            </c:spPr>
          </c:dPt>
          <c:dLbls>
            <c:showVal val="1"/>
            <c:showLeaderLines val="1"/>
          </c:dLbls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3</c:v>
                </c:pt>
                <c:pt idx="1">
                  <c:v>47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plotArea>
      <c:layout/>
      <c:doughnutChart>
        <c:varyColors val="1"/>
        <c:firstSliceAng val="0"/>
        <c:holeSize val="50"/>
      </c:doughnutChart>
      <c:spPr>
        <a:noFill/>
        <a:ln w="25400">
          <a:noFill/>
        </a:ln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2026 год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53000666678899311"/>
          <c:y val="0.11086069801768057"/>
        </c:manualLayout>
      </c:layout>
    </c:title>
    <c:plotArea>
      <c:layout>
        <c:manualLayout>
          <c:layoutTarget val="inner"/>
          <c:xMode val="edge"/>
          <c:yMode val="edge"/>
          <c:x val="7.808720640010143E-2"/>
          <c:y val="0.24144710129703112"/>
          <c:w val="0.60123818403196705"/>
          <c:h val="0.6861797479488326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cene3d>
              <a:camera prst="orthographicFront"/>
              <a:lightRig rig="glow" dir="tl">
                <a:rot lat="0" lon="0" rev="900000"/>
              </a:lightRig>
            </a:scene3d>
            <a:sp3d prstMaterial="powder">
              <a:bevelT w="25400" h="38100" prst="angle"/>
            </a:sp3d>
          </c:spPr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/>
                <a:lightRig rig="glow" dir="tl">
                  <a:rot lat="0" lon="0" rev="900000"/>
                </a:lightRig>
              </a:scene3d>
              <a:sp3d prstMaterial="powder">
                <a:bevelT w="25400" h="38100" prst="angle"/>
              </a:sp3d>
            </c:spPr>
          </c:dPt>
          <c:dLbls>
            <c:showVal val="1"/>
            <c:showLeaderLines val="1"/>
          </c:dLbls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10"/>
  <c:chart>
    <c:autoTitleDeleted val="1"/>
    <c:plotArea>
      <c:layout>
        <c:manualLayout>
          <c:layoutTarget val="inner"/>
          <c:xMode val="edge"/>
          <c:yMode val="edge"/>
          <c:x val="0"/>
          <c:y val="1.9959032074432863E-3"/>
          <c:w val="0.9988891805191018"/>
          <c:h val="0.626941777018823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-1.851851851851855E-3"/>
                  <c:y val="4.5647445265351347E-2"/>
                </c:manualLayout>
              </c:layout>
              <c:showVal val="1"/>
            </c:dLbl>
            <c:dLbl>
              <c:idx val="1"/>
              <c:layout>
                <c:manualLayout>
                  <c:x val="-1.2962962962962963E-2"/>
                  <c:y val="6.1758308300181315E-2"/>
                </c:manualLayout>
              </c:layout>
              <c:showVal val="1"/>
            </c:dLbl>
            <c:dLbl>
              <c:idx val="2"/>
              <c:layout>
                <c:manualLayout>
                  <c:x val="-2.2222222222222251E-2"/>
                  <c:y val="5.3702876782766383E-2"/>
                </c:manualLayout>
              </c:layout>
              <c:showVal val="1"/>
            </c:dLbl>
            <c:dLbl>
              <c:idx val="3"/>
              <c:layout>
                <c:manualLayout>
                  <c:x val="-2.2222222222222251E-2"/>
                  <c:y val="4.5647445265351347E-2"/>
                </c:manualLayout>
              </c:layout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15.170278637770876</c:v>
                </c:pt>
                <c:pt idx="1">
                  <c:v>16.631230805575207</c:v>
                </c:pt>
                <c:pt idx="2">
                  <c:v>17.336626993038401</c:v>
                </c:pt>
                <c:pt idx="3">
                  <c:v>18.0964575330772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2.4074074074074123E-2"/>
                  <c:y val="6.4443452139319693E-2"/>
                </c:manualLayout>
              </c:layout>
              <c:showVal val="1"/>
            </c:dLbl>
            <c:dLbl>
              <c:idx val="1"/>
              <c:layout>
                <c:manualLayout>
                  <c:x val="-1.851851851851855E-3"/>
                  <c:y val="4.0277157587074661E-2"/>
                </c:manualLayout>
              </c:layout>
              <c:showVal val="1"/>
            </c:dLbl>
            <c:dLbl>
              <c:idx val="2"/>
              <c:layout>
                <c:manualLayout>
                  <c:x val="7.4074074074074094E-3"/>
                  <c:y val="3.7592013747936456E-2"/>
                </c:manualLayout>
              </c:layout>
              <c:showVal val="1"/>
            </c:dLbl>
            <c:dLbl>
              <c:idx val="3"/>
              <c:layout>
                <c:manualLayout>
                  <c:x val="-3.333333333333334E-2"/>
                  <c:y val="5.1017732943628234E-2"/>
                </c:manualLayout>
              </c:layout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</c:numCache>
            </c:numRef>
          </c:cat>
          <c:val>
            <c:numRef>
              <c:f>Лист1!$C$2:$C$5</c:f>
              <c:numCache>
                <c:formatCode>#,##0.0</c:formatCode>
                <c:ptCount val="4"/>
                <c:pt idx="0">
                  <c:v>9.545923632610938</c:v>
                </c:pt>
                <c:pt idx="1">
                  <c:v>10.654382234821661</c:v>
                </c:pt>
                <c:pt idx="2">
                  <c:v>11.093644733887288</c:v>
                </c:pt>
                <c:pt idx="3">
                  <c:v>11.502347417840376</c:v>
                </c:pt>
              </c:numCache>
            </c:numRef>
          </c:val>
        </c:ser>
        <c:dLbls>
          <c:showVal val="1"/>
        </c:dLbls>
        <c:marker val="1"/>
        <c:axId val="151124224"/>
        <c:axId val="150872064"/>
      </c:lineChart>
      <c:catAx>
        <c:axId val="151124224"/>
        <c:scaling>
          <c:orientation val="minMax"/>
        </c:scaling>
        <c:axPos val="b"/>
        <c:numFmt formatCode="General" sourceLinked="1"/>
        <c:majorTickMark val="none"/>
        <c:tickLblPos val="nextTo"/>
        <c:crossAx val="150872064"/>
        <c:crosses val="autoZero"/>
        <c:auto val="1"/>
        <c:lblAlgn val="ctr"/>
        <c:lblOffset val="100"/>
      </c:catAx>
      <c:valAx>
        <c:axId val="150872064"/>
        <c:scaling>
          <c:orientation val="minMax"/>
        </c:scaling>
        <c:delete val="1"/>
        <c:axPos val="l"/>
        <c:numFmt formatCode="#,##0.0" sourceLinked="1"/>
        <c:majorTickMark val="none"/>
        <c:tickLblPos val="none"/>
        <c:crossAx val="151124224"/>
        <c:crosses val="autoZero"/>
        <c:crossBetween val="between"/>
      </c:valAx>
    </c:plotArea>
    <c:legend>
      <c:legendPos val="t"/>
      <c:legendEntry>
        <c:idx val="0"/>
        <c:txPr>
          <a:bodyPr/>
          <a:lstStyle/>
          <a:p>
            <a: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9.0740740740740733E-2"/>
          <c:y val="0.79974006961922561"/>
          <c:w val="0.82358340624088755"/>
          <c:h val="0.14502567589510434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3.172368037328667E-2"/>
          <c:y val="2.2712978631006752E-2"/>
          <c:w val="0.96827631962671334"/>
          <c:h val="0.66577800102479712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 от использования имущества, находящегося в муниципальной собственности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48.6</c:v>
                </c:pt>
                <c:pt idx="1">
                  <c:v>44.2</c:v>
                </c:pt>
                <c:pt idx="2">
                  <c:v>44.2</c:v>
                </c:pt>
                <c:pt idx="3">
                  <c:v>44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лата за негативное воздействие на окружающую среду</c:v>
                </c:pt>
              </c:strCache>
            </c:strRef>
          </c:tx>
          <c:spPr>
            <a:solidFill>
              <a:srgbClr val="FF0000"/>
            </a:solidFill>
          </c:spPr>
          <c:dLbls>
            <c:dLbl>
              <c:idx val="0"/>
              <c:layout>
                <c:manualLayout>
                  <c:x val="-0.1"/>
                  <c:y val="5.7347268870186659E-3"/>
                </c:manualLayout>
              </c:layout>
              <c:showVal val="1"/>
            </c:dLbl>
            <c:dLbl>
              <c:idx val="1"/>
              <c:layout>
                <c:manualLayout>
                  <c:x val="-8.1481481481481433E-2"/>
                  <c:y val="3.8231512580124511E-3"/>
                </c:manualLayout>
              </c:layout>
              <c:showVal val="1"/>
            </c:dLbl>
            <c:dLbl>
              <c:idx val="2"/>
              <c:layout>
                <c:manualLayout>
                  <c:x val="-7.2222222222222174E-2"/>
                  <c:y val="3.8231512580124511E-3"/>
                </c:manualLayout>
              </c:layout>
              <c:showVal val="1"/>
            </c:dLbl>
            <c:dLbl>
              <c:idx val="3"/>
              <c:layout>
                <c:manualLayout>
                  <c:x val="-7.222222222222234E-2"/>
                  <c:y val="3.8231512580124511E-3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C$2:$C$5</c:f>
              <c:numCache>
                <c:formatCode>#,##0.00</c:formatCode>
                <c:ptCount val="4"/>
                <c:pt idx="0">
                  <c:v>0.60000000000000064</c:v>
                </c:pt>
                <c:pt idx="1">
                  <c:v>6.0000000000000032E-2</c:v>
                </c:pt>
                <c:pt idx="2">
                  <c:v>6.0000000000000032E-2</c:v>
                </c:pt>
                <c:pt idx="3">
                  <c:v>6.0000000000000032E-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доходы от оказания платных услуг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</c:spPr>
          <c:dLbls>
            <c:dLbl>
              <c:idx val="0"/>
              <c:layout>
                <c:manualLayout>
                  <c:x val="3.333333333333334E-2"/>
                  <c:y val="-3.8231512580124511E-3"/>
                </c:manualLayout>
              </c:layout>
              <c:showVal val="1"/>
            </c:dLbl>
            <c:dLbl>
              <c:idx val="1"/>
              <c:layout>
                <c:manualLayout>
                  <c:x val="3.333333333333334E-2"/>
                  <c:y val="-1.9115756290062241E-3"/>
                </c:manualLayout>
              </c:layout>
              <c:showVal val="1"/>
            </c:dLbl>
            <c:dLbl>
              <c:idx val="2"/>
              <c:layout>
                <c:manualLayout>
                  <c:x val="3.1481481481481582E-2"/>
                  <c:y val="-1.9115756290062241E-3"/>
                </c:manualLayout>
              </c:layout>
              <c:showVal val="1"/>
            </c:dLbl>
            <c:dLbl>
              <c:idx val="3"/>
              <c:layout>
                <c:manualLayout>
                  <c:x val="3.1481481481481485E-2"/>
                  <c:y val="-1.9115756290062241E-3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D$2:$D$5</c:f>
              <c:numCache>
                <c:formatCode>#,##0.0</c:formatCode>
                <c:ptCount val="4"/>
                <c:pt idx="0">
                  <c:v>5.6</c:v>
                </c:pt>
                <c:pt idx="1">
                  <c:v>4</c:v>
                </c:pt>
                <c:pt idx="2">
                  <c:v>4</c:v>
                </c:pt>
                <c:pt idx="3">
                  <c:v>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доходы от реализации имущества</c:v>
                </c:pt>
              </c:strCache>
            </c:strRef>
          </c:tx>
          <c:spPr>
            <a:solidFill>
              <a:srgbClr val="800080"/>
            </a:solidFill>
          </c:spPr>
          <c:dLbls>
            <c:dLbl>
              <c:idx val="0"/>
              <c:layout>
                <c:manualLayout>
                  <c:x val="-6.4814814814814936E-2"/>
                  <c:y val="-3.8231512580124511E-3"/>
                </c:manualLayout>
              </c:layout>
              <c:showVal val="1"/>
            </c:dLbl>
            <c:dLbl>
              <c:idx val="1"/>
              <c:layout>
                <c:manualLayout>
                  <c:x val="-6.851851851851852E-2"/>
                  <c:y val="1.9115756290062241E-3"/>
                </c:manualLayout>
              </c:layout>
              <c:showVal val="1"/>
            </c:dLbl>
            <c:dLbl>
              <c:idx val="2"/>
              <c:layout>
                <c:manualLayout>
                  <c:x val="-7.0370370370370375E-2"/>
                  <c:y val="1.9115756290062241E-3"/>
                </c:manualLayout>
              </c:layout>
              <c:showVal val="1"/>
            </c:dLbl>
            <c:dLbl>
              <c:idx val="3"/>
              <c:layout>
                <c:manualLayout>
                  <c:x val="-7.222222222222234E-2"/>
                  <c:y val="1.9115756290062241E-3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E$2:$E$5</c:f>
              <c:numCache>
                <c:formatCode>#,##0.0</c:formatCode>
                <c:ptCount val="4"/>
                <c:pt idx="0">
                  <c:v>12.3</c:v>
                </c:pt>
                <c:pt idx="1">
                  <c:v>0.60000000000000064</c:v>
                </c:pt>
                <c:pt idx="2">
                  <c:v>0.60000000000000064</c:v>
                </c:pt>
                <c:pt idx="3">
                  <c:v>0.60000000000000064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штрафы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dLbls>
            <c:dLbl>
              <c:idx val="1"/>
              <c:layout>
                <c:manualLayout>
                  <c:x val="2.2222222222222251E-2"/>
                  <c:y val="-1.3381029403043551E-2"/>
                </c:manualLayout>
              </c:layout>
              <c:showVal val="1"/>
            </c:dLbl>
            <c:dLbl>
              <c:idx val="2"/>
              <c:layout>
                <c:manualLayout>
                  <c:x val="2.0370370370370487E-2"/>
                  <c:y val="-1.3381029403043551E-2"/>
                </c:manualLayout>
              </c:layout>
              <c:showVal val="1"/>
            </c:dLbl>
            <c:dLbl>
              <c:idx val="3"/>
              <c:layout>
                <c:manualLayout>
                  <c:x val="1.8518518518518549E-2"/>
                  <c:y val="-1.3381029403043551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3 год </c:v>
                </c:pt>
                <c:pt idx="1">
                  <c:v>2024 год</c:v>
                </c:pt>
                <c:pt idx="2">
                  <c:v>2025 год</c:v>
                </c:pt>
                <c:pt idx="3">
                  <c:v>2026 год</c:v>
                </c:pt>
              </c:strCache>
            </c:strRef>
          </c:cat>
          <c:val>
            <c:numRef>
              <c:f>Лист1!$F$2:$F$5</c:f>
              <c:numCache>
                <c:formatCode>#,##0.0</c:formatCode>
                <c:ptCount val="4"/>
                <c:pt idx="0">
                  <c:v>7.5</c:v>
                </c:pt>
                <c:pt idx="1">
                  <c:v>3.4</c:v>
                </c:pt>
                <c:pt idx="2">
                  <c:v>3.4</c:v>
                </c:pt>
                <c:pt idx="3">
                  <c:v>3.4</c:v>
                </c:pt>
              </c:numCache>
            </c:numRef>
          </c:val>
        </c:ser>
        <c:dLbls>
          <c:showVal val="1"/>
        </c:dLbls>
        <c:gapWidth val="75"/>
        <c:shape val="box"/>
        <c:axId val="151259392"/>
        <c:axId val="151277568"/>
        <c:axId val="0"/>
      </c:bar3DChart>
      <c:catAx>
        <c:axId val="151259392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51277568"/>
        <c:crosses val="autoZero"/>
        <c:auto val="1"/>
        <c:lblAlgn val="ctr"/>
        <c:lblOffset val="100"/>
      </c:catAx>
      <c:valAx>
        <c:axId val="151277568"/>
        <c:scaling>
          <c:orientation val="minMax"/>
        </c:scaling>
        <c:delete val="1"/>
        <c:axPos val="l"/>
        <c:numFmt formatCode="#,##0.0" sourceLinked="1"/>
        <c:majorTickMark val="none"/>
        <c:tickLblPos val="none"/>
        <c:crossAx val="151259392"/>
        <c:crosses val="autoZero"/>
        <c:crossBetween val="between"/>
      </c:valAx>
    </c:plotArea>
    <c:legend>
      <c:legendPos val="b"/>
      <c:legendEntry>
        <c:idx val="1"/>
        <c:txPr>
          <a:bodyPr/>
          <a:lstStyle/>
          <a:p>
            <a:pPr>
              <a:defRPr sz="1200" b="0" kern="700" baseline="0"/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1200" b="0" kern="700" baseline="0"/>
            </a:pPr>
            <a:endParaRPr lang="ru-RU"/>
          </a:p>
        </c:txPr>
      </c:legendEntry>
      <c:layout/>
      <c:txPr>
        <a:bodyPr/>
        <a:lstStyle/>
        <a:p>
          <a:pPr>
            <a:defRPr sz="1200" kern="700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drawing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8.png"/></Relationships>
</file>

<file path=ppt/drawing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2.jpe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</cdr:x>
      <cdr:y>0.48276</cdr:y>
    </cdr:from>
    <cdr:to>
      <cdr:x>0.44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357190" y="1000135"/>
          <a:ext cx="121444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endParaRPr lang="ru-RU" sz="2500" dirty="0" smtClean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5417</cdr:x>
      <cdr:y>0.10742</cdr:y>
    </cdr:from>
    <cdr:to>
      <cdr:x>0.63322</cdr:x>
      <cdr:y>0.27273</cdr:y>
    </cdr:to>
    <cdr:pic>
      <cdr:nvPicPr>
        <cdr:cNvPr id="2" name="object 38"/>
        <cdr:cNvPicPr/>
      </cdr:nvPicPr>
      <cdr:blipFill>
        <a:blip xmlns:a="http://schemas.openxmlformats.org/drawingml/2006/main" xmlns:r="http://schemas.openxmlformats.org/officeDocument/2006/relationships" r:embed="rId1" cstate="print">
          <a:duotone>
            <a:prstClr val="black"/>
            <a:srgbClr val="70AD47">
              <a:tint val="45000"/>
              <a:satMod val="400000"/>
            </a:srgbClr>
          </a:duotone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2428868" y="1000132"/>
          <a:ext cx="1913737" cy="1539215"/>
        </a:xfrm>
        <a:prstGeom xmlns:a="http://schemas.openxmlformats.org/drawingml/2006/main" prst="rect">
          <a:avLst/>
        </a:prstGeom>
      </cdr:spPr>
    </cdr:pic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0833</cdr:x>
      <cdr:y>0.80429</cdr:y>
    </cdr:from>
    <cdr:to>
      <cdr:x>0.35416</cdr:x>
      <cdr:y>0.92458</cdr:y>
    </cdr:to>
    <cdr:pic>
      <cdr:nvPicPr>
        <cdr:cNvPr id="2" name="Picture 2" descr="C:\Users\AdmAccount\Desktop\кружка 2.jp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/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1428736" y="7143799"/>
          <a:ext cx="1000125" cy="10683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</cdr:pic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3B07DF-2472-481D-B079-56DD1661F17A}" type="datetimeFigureOut">
              <a:rPr lang="ru-RU" smtClean="0"/>
              <a:pPr/>
              <a:t>24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848C8-F97B-4B74-8C19-F96604D662E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241550" y="685800"/>
            <a:ext cx="23749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D269F5-E4B4-4C4B-B252-CC965B7930F2}" type="slidenum">
              <a:rPr lang="fr-CA" smtClean="0"/>
              <a:pPr>
                <a:defRPr/>
              </a:pPr>
              <a:t>2</a:t>
            </a:fld>
            <a:endParaRPr lang="fr-CA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241550" y="685800"/>
            <a:ext cx="23749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D269F5-E4B4-4C4B-B252-CC965B7930F2}" type="slidenum">
              <a:rPr lang="fr-CA" smtClean="0"/>
              <a:pPr>
                <a:defRPr/>
              </a:pPr>
              <a:t>59</a:t>
            </a:fld>
            <a:endParaRPr lang="fr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00050" y="1981200"/>
            <a:ext cx="5888736" cy="26416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00050" y="4663441"/>
            <a:ext cx="5891022" cy="2531533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D519AA6-96EE-4D0E-9159-7E58DADB6FCE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7E0445-00CE-420A-B900-FBA46E6ABAD0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1320802"/>
            <a:ext cx="1543050" cy="7528102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1320802"/>
            <a:ext cx="4514850" cy="7528102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58585B4-2388-41C9-9195-62B0BBE9CFC9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 userDrawn="1"/>
        </p:nvSpPr>
        <p:spPr>
          <a:xfrm>
            <a:off x="154269" y="281535"/>
            <a:ext cx="6549464" cy="9342945"/>
          </a:xfrm>
          <a:prstGeom prst="roundRect">
            <a:avLst>
              <a:gd name="adj" fmla="val 1377"/>
            </a:avLst>
          </a:prstGeom>
          <a:solidFill>
            <a:schemeClr val="bg1"/>
          </a:solidFill>
          <a:ln w="3175">
            <a:solidFill>
              <a:schemeClr val="accent6">
                <a:lumMod val="75000"/>
                <a:alpha val="39000"/>
              </a:schemeClr>
            </a:solidFill>
          </a:ln>
          <a:effectLst>
            <a:outerShdw blurRad="63500" sx="102000" sy="102000" algn="ctr" rotWithShape="0">
              <a:schemeClr val="accent6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7"/>
          <p:cNvGrpSpPr/>
          <p:nvPr userDrawn="1"/>
        </p:nvGrpSpPr>
        <p:grpSpPr>
          <a:xfrm>
            <a:off x="234411" y="425470"/>
            <a:ext cx="6338861" cy="832095"/>
            <a:chOff x="131572" y="213830"/>
            <a:chExt cx="8451814" cy="843482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 rot="16200000" flipH="1">
              <a:off x="-121232" y="466636"/>
              <a:ext cx="843479" cy="3378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98019" y="213830"/>
              <a:ext cx="8085367" cy="84348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75000">
                  <a:schemeClr val="accent6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331946" y="9172222"/>
            <a:ext cx="394779" cy="527401"/>
          </a:xfrm>
        </p:spPr>
        <p:txBody>
          <a:bodyPr/>
          <a:lstStyle>
            <a:lvl1pPr algn="r"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509247" y="445283"/>
            <a:ext cx="5705818" cy="784767"/>
          </a:xfrm>
        </p:spPr>
        <p:txBody>
          <a:bodyPr/>
          <a:lstStyle>
            <a:lvl1pPr algn="l">
              <a:lnSpc>
                <a:spcPts val="2000"/>
              </a:lnSpc>
              <a:defRPr lang="ru-RU" sz="2000" kern="120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+mn-lt"/>
                <a:ea typeface="Tahoma" pitchFamily="34" charset="0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331102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817424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0EC770-60F9-4071-860B-C1BE15C56A92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764" y="1901952"/>
            <a:ext cx="5829300" cy="1967992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97764" y="3906737"/>
            <a:ext cx="5829300" cy="2180695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6F7021-FE3D-4F38-BEB0-2748EC1EC33D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290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486150" y="2773456"/>
            <a:ext cx="3028950" cy="640588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E4891A-6423-4E56-BBDF-DA9CFAE9B2E0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679803"/>
            <a:ext cx="3030141" cy="952397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3483769" y="2686317"/>
            <a:ext cx="3031331" cy="945884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342900" y="3632200"/>
            <a:ext cx="303014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3483769" y="3632200"/>
            <a:ext cx="3031331" cy="5554929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445B58B-4843-4057-909D-2F022CB504BD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229350" cy="1651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075D30E-45F3-410F-A06B-9D51EDCAAA18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AEDBED-B3A0-4A78-94EF-BB83DBAB978E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742953"/>
            <a:ext cx="2057400" cy="1678517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514350" y="2421467"/>
            <a:ext cx="2057400" cy="6604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2681287" y="2421467"/>
            <a:ext cx="3833813" cy="6604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43F4FD8-33E4-438B-A889-2E8549C88AD6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2374315" y="1600556"/>
            <a:ext cx="3943350" cy="59436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6003101" y="7741889"/>
            <a:ext cx="116586" cy="224536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700106"/>
            <a:ext cx="1659636" cy="2286008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086023"/>
            <a:ext cx="1657350" cy="3147907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C5FEFE-5D8E-41FE-A7D5-BCBF8F139BEA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057900" y="9181395"/>
            <a:ext cx="457200" cy="527403"/>
          </a:xfrm>
        </p:spPr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2614345" y="1732636"/>
            <a:ext cx="3463290" cy="567944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7144" y="8401756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3286125" y="8984193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7144" y="-10319"/>
            <a:ext cx="6872288" cy="1504244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3286125" y="-10318"/>
            <a:ext cx="3571875" cy="921808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42900" y="1017016"/>
            <a:ext cx="6172200" cy="1651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342900" y="2795693"/>
            <a:ext cx="6172200" cy="633984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342900" y="9181395"/>
            <a:ext cx="1600200" cy="527403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F38BE009-9004-4004-A7BF-5F7BDBF905CB}" type="datetime1">
              <a:rPr lang="fr-FR" smtClean="0"/>
              <a:pPr>
                <a:defRPr/>
              </a:pPr>
              <a:t>24/11/2023</a:t>
            </a:fld>
            <a:endParaRPr lang="fr-CA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2000250" y="9181395"/>
            <a:ext cx="2514600" cy="527403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5943600" y="9181395"/>
            <a:ext cx="571500" cy="527403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grpSp>
        <p:nvGrpSpPr>
          <p:cNvPr id="2" name="Группа 1"/>
          <p:cNvGrpSpPr/>
          <p:nvPr/>
        </p:nvGrpSpPr>
        <p:grpSpPr>
          <a:xfrm>
            <a:off x="-14263" y="292367"/>
            <a:ext cx="6885411" cy="937768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6" r:id="rId1"/>
    <p:sldLayoutId id="2147484377" r:id="rId2"/>
    <p:sldLayoutId id="2147484378" r:id="rId3"/>
    <p:sldLayoutId id="2147484379" r:id="rId4"/>
    <p:sldLayoutId id="2147484380" r:id="rId5"/>
    <p:sldLayoutId id="2147484381" r:id="rId6"/>
    <p:sldLayoutId id="2147484382" r:id="rId7"/>
    <p:sldLayoutId id="2147484383" r:id="rId8"/>
    <p:sldLayoutId id="2147484384" r:id="rId9"/>
    <p:sldLayoutId id="2147484385" r:id="rId10"/>
    <p:sldLayoutId id="2147484386" r:id="rId11"/>
    <p:sldLayoutId id="2147484387" r:id="rId12"/>
    <p:sldLayoutId id="2147484388" r:id="rId13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chart" Target="../charts/char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2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4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5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3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6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3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7.xls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3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8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9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3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0.xls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_____Microsoft_Office_Excel_97-200311.xls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0.png"/><Relationship Id="rId4" Type="http://schemas.openxmlformats.org/officeDocument/2006/relationships/chart" Target="../charts/chart15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10" Type="http://schemas.openxmlformats.org/officeDocument/2006/relationships/tags" Target="../tags/tag14.xml"/><Relationship Id="rId19" Type="http://schemas.openxmlformats.org/officeDocument/2006/relationships/image" Target="../media/image21.jpe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3.xml.rels><?xml version="1.0" encoding="UTF-8" standalone="yes"?>
<Relationships xmlns="http://schemas.openxmlformats.org/package/2006/relationships"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26" Type="http://schemas.openxmlformats.org/officeDocument/2006/relationships/tags" Target="../tags/tag49.xml"/><Relationship Id="rId39" Type="http://schemas.openxmlformats.org/officeDocument/2006/relationships/tags" Target="../tags/tag62.xml"/><Relationship Id="rId21" Type="http://schemas.openxmlformats.org/officeDocument/2006/relationships/tags" Target="../tags/tag44.xml"/><Relationship Id="rId34" Type="http://schemas.openxmlformats.org/officeDocument/2006/relationships/tags" Target="../tags/tag57.xml"/><Relationship Id="rId42" Type="http://schemas.openxmlformats.org/officeDocument/2006/relationships/tags" Target="../tags/tag65.xml"/><Relationship Id="rId47" Type="http://schemas.openxmlformats.org/officeDocument/2006/relationships/tags" Target="../tags/tag70.xml"/><Relationship Id="rId50" Type="http://schemas.openxmlformats.org/officeDocument/2006/relationships/tags" Target="../tags/tag73.xml"/><Relationship Id="rId55" Type="http://schemas.openxmlformats.org/officeDocument/2006/relationships/tags" Target="../tags/tag78.xml"/><Relationship Id="rId63" Type="http://schemas.openxmlformats.org/officeDocument/2006/relationships/image" Target="../media/image26.png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29" Type="http://schemas.openxmlformats.org/officeDocument/2006/relationships/tags" Target="../tags/tag52.xml"/><Relationship Id="rId41" Type="http://schemas.openxmlformats.org/officeDocument/2006/relationships/tags" Target="../tags/tag64.xml"/><Relationship Id="rId54" Type="http://schemas.openxmlformats.org/officeDocument/2006/relationships/tags" Target="../tags/tag77.xml"/><Relationship Id="rId62" Type="http://schemas.openxmlformats.org/officeDocument/2006/relationships/image" Target="../media/image25.png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32" Type="http://schemas.openxmlformats.org/officeDocument/2006/relationships/tags" Target="../tags/tag55.xml"/><Relationship Id="rId37" Type="http://schemas.openxmlformats.org/officeDocument/2006/relationships/tags" Target="../tags/tag60.xml"/><Relationship Id="rId40" Type="http://schemas.openxmlformats.org/officeDocument/2006/relationships/tags" Target="../tags/tag63.xml"/><Relationship Id="rId45" Type="http://schemas.openxmlformats.org/officeDocument/2006/relationships/tags" Target="../tags/tag68.xml"/><Relationship Id="rId53" Type="http://schemas.openxmlformats.org/officeDocument/2006/relationships/tags" Target="../tags/tag76.xml"/><Relationship Id="rId58" Type="http://schemas.openxmlformats.org/officeDocument/2006/relationships/tags" Target="../tags/tag81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tags" Target="../tags/tag51.xml"/><Relationship Id="rId36" Type="http://schemas.openxmlformats.org/officeDocument/2006/relationships/tags" Target="../tags/tag59.xml"/><Relationship Id="rId49" Type="http://schemas.openxmlformats.org/officeDocument/2006/relationships/tags" Target="../tags/tag72.xml"/><Relationship Id="rId57" Type="http://schemas.openxmlformats.org/officeDocument/2006/relationships/tags" Target="../tags/tag80.xml"/><Relationship Id="rId61" Type="http://schemas.openxmlformats.org/officeDocument/2006/relationships/slideLayout" Target="../slideLayouts/slideLayout13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31" Type="http://schemas.openxmlformats.org/officeDocument/2006/relationships/tags" Target="../tags/tag54.xml"/><Relationship Id="rId44" Type="http://schemas.openxmlformats.org/officeDocument/2006/relationships/tags" Target="../tags/tag67.xml"/><Relationship Id="rId52" Type="http://schemas.openxmlformats.org/officeDocument/2006/relationships/tags" Target="../tags/tag75.xml"/><Relationship Id="rId60" Type="http://schemas.openxmlformats.org/officeDocument/2006/relationships/tags" Target="../tags/tag83.xml"/><Relationship Id="rId65" Type="http://schemas.openxmlformats.org/officeDocument/2006/relationships/image" Target="../media/image3.jpeg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tags" Target="../tags/tag58.xml"/><Relationship Id="rId43" Type="http://schemas.openxmlformats.org/officeDocument/2006/relationships/tags" Target="../tags/tag66.xml"/><Relationship Id="rId48" Type="http://schemas.openxmlformats.org/officeDocument/2006/relationships/tags" Target="../tags/tag71.xml"/><Relationship Id="rId56" Type="http://schemas.openxmlformats.org/officeDocument/2006/relationships/tags" Target="../tags/tag79.xml"/><Relationship Id="rId64" Type="http://schemas.openxmlformats.org/officeDocument/2006/relationships/image" Target="../media/image27.png"/><Relationship Id="rId8" Type="http://schemas.openxmlformats.org/officeDocument/2006/relationships/tags" Target="../tags/tag31.xml"/><Relationship Id="rId51" Type="http://schemas.openxmlformats.org/officeDocument/2006/relationships/tags" Target="../tags/tag74.xml"/><Relationship Id="rId3" Type="http://schemas.openxmlformats.org/officeDocument/2006/relationships/tags" Target="../tags/tag26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33" Type="http://schemas.openxmlformats.org/officeDocument/2006/relationships/tags" Target="../tags/tag56.xml"/><Relationship Id="rId38" Type="http://schemas.openxmlformats.org/officeDocument/2006/relationships/tags" Target="../tags/tag61.xml"/><Relationship Id="rId46" Type="http://schemas.openxmlformats.org/officeDocument/2006/relationships/tags" Target="../tags/tag69.xml"/><Relationship Id="rId59" Type="http://schemas.openxmlformats.org/officeDocument/2006/relationships/tags" Target="../tags/tag8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chart" Target="../charts/chart17.xml"/><Relationship Id="rId5" Type="http://schemas.openxmlformats.org/officeDocument/2006/relationships/image" Target="../media/image29.png"/><Relationship Id="rId4" Type="http://schemas.openxmlformats.org/officeDocument/2006/relationships/chart" Target="../charts/chart16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19" Type="http://schemas.openxmlformats.org/officeDocument/2006/relationships/image" Target="../media/image30.jpeg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jpe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3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0" y="-547726"/>
            <a:ext cx="6858000" cy="1073947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357167" y="1166786"/>
            <a:ext cx="6357982" cy="7000924"/>
          </a:xfr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txBody>
          <a:bodyPr>
            <a:normAutofit/>
          </a:bodyPr>
          <a:lstStyle/>
          <a:p>
            <a:pPr algn="ctr">
              <a:defRPr/>
            </a:pP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 ДЛЯ ГРАЖДАН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проекту решения Думы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О бюджете города-курорта Железноводска Ставропольского края </a:t>
            </a:r>
            <a:b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4 год и плановый период 2025-2026 годов»</a:t>
            </a:r>
            <a: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6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ru-RU" b="1" dirty="0"/>
          </a:p>
        </p:txBody>
      </p:sp>
      <p:pic>
        <p:nvPicPr>
          <p:cNvPr id="14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6858000" cy="14525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pic>
      <p:pic>
        <p:nvPicPr>
          <p:cNvPr id="1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28934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политики города-курорта Железноводска Ставропольского края на 2024 год и плановый период 2025 и 2026 годов</a:t>
            </a:r>
          </a:p>
          <a:p>
            <a:pPr marL="177800" indent="-177800"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Содействие достижению национальных целей развития посредством реализации муниципальных программ города-курорта Железноводска Ставропольского края, включающих в себя муниципальные  составляющие национальных проектов. При реализации интегрированных в структуру муниципальных программ национальных проектов, особое внимание будет сосредоточено на повышении качества управления муниципальными программами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Повышение эффективности и результативности бюджетных расходов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этой целью необходимо проведение мероприятий:</a:t>
            </a:r>
          </a:p>
          <a:p>
            <a:pPr marL="177800" lvl="1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езусловное исполнение принятых бюджетных обязательств;</a:t>
            </a:r>
          </a:p>
          <a:p>
            <a:pPr marL="269875" lvl="1" indent="-92075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режима экономного и рационального использования бюджетных средств;</a:t>
            </a:r>
          </a:p>
          <a:p>
            <a:pPr marL="177800" lvl="1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соблюдения норматива формирования расходов;</a:t>
            </a:r>
          </a:p>
          <a:p>
            <a:pPr marL="177800">
              <a:buFont typeface="Wingdings" pitchFamily="2" charset="2"/>
              <a:buChar char="Ø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качества оказания муниципальных и т.д.;</a:t>
            </a:r>
          </a:p>
          <a:p>
            <a:pPr marL="177800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звитие инициативного бюджетирования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ханизм инициативного бюджетирования применяется в целях прямого вовлечения жителей города в решение приоритетных вопросов местного значения, принятия конкретных решений по расходованию бюджетных средств и осуществления общественного контроля эффективности и результативности их использования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хранение высокого уровня открытости бюджетных данных, характеризующих прозрачность бюджетного процесса в городе-курорте Железноводске Ставропольского края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целях обеспечения открытости и прозрачности бюджетного процесса необходимо продолжить работу по своевременному размещению информации на Едином портале бюджетной системы, официальном сайте Думы города, в средствах массовой информации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Развитие информационных технологий в сфере управления муниципальными финансам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целях развития информационных технологий в сфере управления  муниципальными финансами города будет осуществлено обеспечение перехода на новый качественный уровень управления муниципальными финансами.</a:t>
            </a:r>
          </a:p>
          <a:p>
            <a:pPr marL="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1031085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налоговой политики города-курорта Железноводска Ставропольского края на 2024 год и плановый период 2025 и 2026 годов</a:t>
            </a:r>
          </a:p>
          <a:p>
            <a:pPr indent="358775"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Поддержка инвестиционной  и инновационной активности хозяйствующих субъектов, осуществляющих деятельность на территории города-курорта Железноводска Ставропольского края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продолжится реализация комплекса мер, направленных на формирование благоприятного инвестиционного климата и развитие конкурентоспособной экономики города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 Оценка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тановлением администрации города-курорта Железноводска Ставропольского края от 08 мая 2020 г. № 345 «Об утверждении Порядка оценки налоговых расходов города-курорта Железноводска Ставропольского края» определены общие требования к оценке эффективности налоговых расходов бюджета города.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Повышение эффективности управления муниципальными активами.</a:t>
            </a: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данном направлении будут продолжены следующие мероприятия:  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нтаризация объектов недвижимого имущества, находящегося в муниципальной собственности города-курорта Железноводска Ставропольского края;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ниторинг финансово-хозяйственной деятельности муниципальных предприятий с целью увеличения их финансового результата;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туализация баз данных по объектам недвижимости города-курорта Железноводска Ставропольского края по уточнению и передаче недостающих характеристик технико-экономических показателей, а также по выявлению новых объектов недвижимости города-курорта Железноводска Ставропольского края и постановке их на учет в регистрирующих органах;</a:t>
            </a:r>
          </a:p>
          <a:p>
            <a:pPr marL="360363" lvl="1" indent="-182563" algn="just" eaLnBrk="1" hangingPunct="1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ыявление правообладателей ранее учтенных объектов недвижимого имущества города-курорта Железноводска Ставропольского края в целях их дальнейшего налогообложения и для внесения в Единый государственный реестр недвижимости</a:t>
            </a:r>
          </a:p>
          <a:p>
            <a:pPr marL="177800" lvl="1" algn="just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7800" lvl="1" indent="-177800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Совершенствование администрирования налоговых и неналоговых доходов.</a:t>
            </a:r>
          </a:p>
          <a:p>
            <a:pPr marL="177800" lvl="1" algn="just" eaLnBrk="1" hangingPunct="1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ю качества администрирования налоговых и неналоговых доходов бюджета города будет способствовать безусловное выполнение главными администраторами доходов бюджета города бюджетных полномочий в части обеспечения ими точности планирования и контроля за поступлением в бюджет города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ируемых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логов и сборов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города-курорта Железноводска Ставропольского края на 2024 год и плановый период 2025 и 2026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28600" lvl="1" indent="-228600" algn="just">
              <a:buAutoNum type="arabicPeriod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ание объема муниципального долга на оптимальном уровне, в рамках которого предполагается:</a:t>
            </a:r>
          </a:p>
          <a:p>
            <a:pPr marL="411163" lvl="1" indent="-2286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становление и исполнение расходных обязательств города в пределах полномочий, отнесенных к полномочиям органов местного самоуправления; 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долга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ассигнований и объема заимствований при исполнении бюджета города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правление остатков средств на едином счете бюджета города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долга.</a:t>
            </a:r>
          </a:p>
          <a:p>
            <a:pPr marL="188913" lvl="1" indent="-6350" algn="just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Минимизация стоимости обслуживания муниципального долга, в рамках которой предполагается: управление ликвидностью единого счета бюджета города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оведение анализа процентных ставок  на рынке кредитов в целях минимизации расходов бюджета; 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существление заимствований в кредитных организациях.</a:t>
            </a:r>
          </a:p>
          <a:p>
            <a:pPr marL="188913" lvl="1" indent="-6350" algn="just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88913" lvl="1" indent="-188913" algn="just">
              <a:tabLst>
                <a:tab pos="90488" algn="l"/>
                <a:tab pos="360363" algn="l"/>
              </a:tabLst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360363" lvl="1" indent="-177800" algn="just">
              <a:buFont typeface="Wingdings" pitchFamily="2" charset="2"/>
              <a:buChar char="Ø"/>
              <a:defRPr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ирование графиков погашения долговых обязательств города-курорта Железноводска Ставропольского края.</a:t>
            </a:r>
          </a:p>
          <a:p>
            <a:pPr algn="just" eaLnBrk="1" hangingPunct="1">
              <a:buFont typeface="Wingdings" pitchFamily="2" charset="2"/>
              <a:buChar char="Ø"/>
              <a:defRPr/>
            </a:pPr>
            <a:endParaRPr lang="ru-RU" sz="12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-261974"/>
            <a:ext cx="6858000" cy="1016797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характеристики проекта бюджета города-курорта Железноводска Ставропольского края на 202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од и плановый период 202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и 202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9" name="Text Box 1"/>
          <p:cNvSpPr txBox="1">
            <a:spLocks noChangeArrowheads="1"/>
          </p:cNvSpPr>
          <p:nvPr/>
        </p:nvSpPr>
        <p:spPr bwMode="auto">
          <a:xfrm>
            <a:off x="5357827" y="6096008"/>
            <a:ext cx="114300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1"/>
          <p:cNvSpPr txBox="1">
            <a:spLocks noChangeArrowheads="1"/>
          </p:cNvSpPr>
          <p:nvPr/>
        </p:nvSpPr>
        <p:spPr bwMode="auto">
          <a:xfrm>
            <a:off x="5500702" y="1881168"/>
            <a:ext cx="114300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2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20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0" y="2309794"/>
          <a:ext cx="6858000" cy="64692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4384"/>
                <a:gridCol w="797946"/>
                <a:gridCol w="969569"/>
                <a:gridCol w="1077588"/>
                <a:gridCol w="876043"/>
                <a:gridCol w="921742"/>
                <a:gridCol w="980728"/>
              </a:tblGrid>
              <a:tr h="876298"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(отчет)</a:t>
                      </a: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3 год (первоначальный план)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оценка)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4 год (проект)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5 год (проект)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6 год (проект)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6666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ходы, из них: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264,4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283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563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664,8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860,8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74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26064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94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19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62,4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75,7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97,7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21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46971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тация на выравнивание бюджетной обеспеченности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25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88,5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88,5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68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45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09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929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330,7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283,6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490,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664,8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860,8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574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9114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фицит «–»</a:t>
                      </a:r>
                    </a:p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ицит «+»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 66,3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2,1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24944">
                <a:tc>
                  <a:txBody>
                    <a:bodyPr/>
                    <a:lstStyle/>
                    <a:p>
                      <a:r>
                        <a:rPr lang="ru-RU" sz="1400" b="1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уници-пальный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лг на конец отчетного периода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238094"/>
            <a:ext cx="6858000" cy="966790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452675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7" y="2809862"/>
          <a:ext cx="6429420" cy="5926175"/>
        </p:xfrm>
        <a:graphic>
          <a:graphicData uri="http://schemas.openxmlformats.org/drawingml/2006/table">
            <a:tbl>
              <a:tblPr/>
              <a:tblGrid>
                <a:gridCol w="1595110"/>
                <a:gridCol w="1007154"/>
                <a:gridCol w="1007126"/>
                <a:gridCol w="940010"/>
                <a:gridCol w="940010"/>
                <a:gridCol w="940010"/>
              </a:tblGrid>
              <a:tr h="4899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5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000" b="1" i="0" u="none" strike="noStrike" dirty="0" smtClean="0">
                          <a:latin typeface="Times New Roman"/>
                        </a:rPr>
                        <a:t>2026 </a:t>
                      </a:r>
                      <a:r>
                        <a:rPr lang="ru-RU" sz="10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СОБСТВЕНН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6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62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75,7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97,7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1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04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87,</a:t>
                      </a:r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200" b="1" i="0" u="none" strike="noStrike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23,3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45,3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68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 на доходы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30,1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22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30,5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33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34,9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999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Акциз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7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0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, взимаемый в связи с применением упрощен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6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7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3,1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8,1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3,3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0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0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67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Единый сельскохозяйствен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алог, взимаемый в связи с применением патент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9,3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Налог на имущество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5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7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5,1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9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3,9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523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Земе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8,5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8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0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7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4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smtClean="0">
                          <a:latin typeface="Times New Roman"/>
                        </a:rPr>
                        <a:t>Прочие налоговые доходы</a:t>
                      </a:r>
                      <a:endParaRPr lang="ru-RU" sz="10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7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9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9,1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21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4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67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Доходы от использования муниципального имущест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6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4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4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4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43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latin typeface="Times New Roman"/>
                        </a:rPr>
                        <a:t>Прочие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4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6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8" y="2524111"/>
          <a:ext cx="6286542" cy="6099838"/>
        </p:xfrm>
        <a:graphic>
          <a:graphicData uri="http://schemas.openxmlformats.org/drawingml/2006/table">
            <a:tbl>
              <a:tblPr/>
              <a:tblGrid>
                <a:gridCol w="1541706"/>
                <a:gridCol w="1019479"/>
                <a:gridCol w="923633"/>
                <a:gridCol w="933908"/>
                <a:gridCol w="933908"/>
                <a:gridCol w="933908"/>
              </a:tblGrid>
              <a:tr h="741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/>
                        </a:rPr>
                        <a:t>фактическое исполнение з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2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latin typeface="Times New Roman"/>
                        </a:rPr>
                        <a:t>ожидаемые поступления за 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3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проект плана н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4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5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проект плана на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026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СОБСТВЕННЫЕ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6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62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75,7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97,7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1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04,6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87,6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23,3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45,3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68,6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21,6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4,8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,4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,4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2,4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БЕЗВОЗМЕЗДН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 738,2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 100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 189,1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 363,1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 053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613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Дота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25,3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8,5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68,6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51,7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09,3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6134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сидии бюджетам бюджетной системы Российской Федераци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73,7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64,8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 009,5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10,5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6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492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вен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822,7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03,7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09,3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99,6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93,8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734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Иные межбюджетные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трансферты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6,2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53,8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01,7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Возврат остатков прошлых 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10,2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lang="ru-RU" sz="12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55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                                        ИТОГО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 264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 563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 664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 860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 574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поступлений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Диаграмма 10"/>
          <p:cNvGraphicFramePr/>
          <p:nvPr/>
        </p:nvGraphicFramePr>
        <p:xfrm>
          <a:off x="142852" y="1809728"/>
          <a:ext cx="6572296" cy="6643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налоговых и не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357829" y="209548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142852" y="2309794"/>
          <a:ext cx="6572296" cy="6643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алоговых доходов бюджета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5500702" y="1238224"/>
            <a:ext cx="117632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9" name="Диаграмма 8"/>
          <p:cNvGraphicFramePr/>
          <p:nvPr/>
        </p:nvGraphicFramePr>
        <p:xfrm>
          <a:off x="0" y="1666852"/>
          <a:ext cx="6804000" cy="78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ибольший удельный вес в доходной части бюджета города из числа налоговых доходов занимает налог на доходы физических лиц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  <p:sp>
        <p:nvSpPr>
          <p:cNvPr id="9" name="File"/>
          <p:cNvSpPr>
            <a:spLocks noEditPoints="1" noChangeArrowheads="1"/>
          </p:cNvSpPr>
          <p:nvPr/>
        </p:nvSpPr>
        <p:spPr bwMode="auto">
          <a:xfrm>
            <a:off x="214290" y="6667512"/>
            <a:ext cx="6483457" cy="2736304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ln>
            <a:headEnd/>
            <a:tailEnd/>
          </a:ln>
          <a:effectLst>
            <a:innerShdw blurRad="114300">
              <a:prstClr val="black"/>
            </a:inn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indent="450000" algn="just"/>
            <a:r>
              <a:rPr lang="ru-RU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налогу на доходы физических лиц в 2024 году составят 423,3 млн. руб., в 2025 году – 445,3 млн. руб., в 2026 году – 468,6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руб.</a:t>
            </a:r>
          </a:p>
          <a:p>
            <a:pPr indent="450000" algn="just"/>
            <a:r>
              <a:rPr lang="ru-RU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 расчете учитывался норматив отчислений в бюджет города в размере 27%. </a:t>
            </a: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214290" y="3667116"/>
          <a:ext cx="3143272" cy="2786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/>
          <p:cNvGraphicFramePr/>
          <p:nvPr/>
        </p:nvGraphicFramePr>
        <p:xfrm>
          <a:off x="1857364" y="1666852"/>
          <a:ext cx="3000396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3554916" y="5144369"/>
          <a:ext cx="2322634" cy="910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/>
          <p:nvPr/>
        </p:nvGraphicFramePr>
        <p:xfrm>
          <a:off x="3786166" y="4238620"/>
          <a:ext cx="3071834" cy="2745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7000900" cy="1052516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 ЖЕЛЕЗНОВОДСКЕ</a:t>
            </a:r>
          </a:p>
          <a:p>
            <a:pPr algn="ctr"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- широко известный бальнеологический курорт Кавказских Минеральных Вод, расположенный у подножия горы Железная, на высоте 570-650 м над уровнем моря, в долине небольших рек Джеймук и Кучук. На территории курорта находится свыше 20 углекислых сульфатно-гидрокарбонатных кальциево-натриевых минеральных источников (Славяновский, Смирновский и др.), активно применяемых в лечении заболеваний органов пищеварения, почек, мочевыводящих путей и нарушений обмена веществ. Железноводские источники уникальны, так как кальциевые воды с высокой температурой крайне редко встречаются в природе. Температура некоторых минеральных источников превышает 50 градусов по Цельсию. В Европе нет подобных минеральных вод. Минеральные воды «Славяновская» и «Смирновская», помимо своих полезных свойств, по праву считаются одними из самых вкусных. Для лечения используется также иловая грязь Тамбуканского озера. Именно тут находится единственный на Кавказских Минеральных Водах лесопарк естественного происхождения, в котором произрастают растения степного, лесного и субальпийского поясов. Климат в Железноводске горно-степной, умеренно-сухой. Чистый ионизированный воздух и густые дубово-грабовые и буковые леса уберегают этот курорт от изнуряющего летнего зноя. Здесь проложено множество активных и экскурсионных маршрутов, знакомящих с уникальными достопримечательностями Кавказа. 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- самый маленький и тихий среди городов-курортов Кавказских Минеральных Вод. Население города  более пятидесяти тысяч человек, но, несмотря на небольшие размеры, это город имеет хорошо развитую инфраструктуру. 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месте с тем, Железноводск - самый большой по занимаемой территории город Кавказских Минеральных Вод (93 га). В административные границы Железноводска входят: курортный поселок Иноземцево, поселок Капельница, станция Бештау, хутор Р.Люксембург.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 - самый динамично развивающийся курорт Кавминвод. В 2003 году ему присвоено звание «Лучший город России» среди малых городов. В 2020 году был проведен Всероссийский конкурс «Лучшая муниципальная практика», где Железноводск занял 1 место и получил 75 млн.рублей для внедрения системы «Умный город».В 2021 году  во  Всероссийском конкурсе  «Лучшая муниципальная  практика» город занял призовое место  с получением денежной премии  в размере 20 млн. руб., которая направлена на развитие города.    </a:t>
            </a:r>
          </a:p>
          <a:p>
            <a:pPr indent="450850" algn="just">
              <a:defRPr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начительный удельный вес в доходной части бюджета города из числа налоговых доходов занимают налоги на имущество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48287" y="2872779"/>
            <a:ext cx="450059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60649" y="7185249"/>
            <a:ext cx="3096344" cy="2088232"/>
          </a:xfrm>
          <a:prstGeom prst="roundRect">
            <a:avLst/>
          </a:prstGeom>
          <a:solidFill>
            <a:schemeClr val="tx2">
              <a:lumMod val="20000"/>
              <a:lumOff val="8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800" b="1" i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земельному налогу в 2024 году составят –                 70,4 млн. руб.,                                  в 2025 году – 77,2 млн. руб.,   в 2026 году – 84,8 млн. руб.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645024" y="7185253"/>
            <a:ext cx="3024336" cy="2016223"/>
          </a:xfrm>
          <a:prstGeom prst="roundRect">
            <a:avLst/>
          </a:prstGeom>
          <a:solidFill>
            <a:schemeClr val="tx2">
              <a:lumMod val="20000"/>
              <a:lumOff val="8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800" b="1" i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налогу на имущество физических лиц в 2024 году составят 45,1 млн. руб.,      в 2025 году – 49,4 млн. руб., в 2026 году – 53,9 млн. руб.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9" name="Диаграмма 18"/>
          <p:cNvGraphicFramePr/>
          <p:nvPr/>
        </p:nvGraphicFramePr>
        <p:xfrm>
          <a:off x="0" y="2095480"/>
          <a:ext cx="6858000" cy="4729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-119098"/>
            <a:ext cx="6858000" cy="1014419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неналоговых доходов города-курорта Железноводск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5429264" y="881034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57166" y="7524768"/>
            <a:ext cx="3647898" cy="216024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ую долю неналоговых доходов составляют доходы от использования имущества находящегося в муниципальной собственности, которые в 2024-2026 годах составят 44,2 млн. руб. ежегодно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357694" y="7881958"/>
            <a:ext cx="2136300" cy="1800200"/>
          </a:xfrm>
          <a:prstGeom prst="roundRect">
            <a:avLst/>
          </a:prstGeom>
          <a:solidFill>
            <a:schemeClr val="accent1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чие неналоговые доходы  ожидаемые в  2024-2026 годах составят 8,1 млн. руб. ежегодно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3" name="Диаграмма 12"/>
          <p:cNvGraphicFramePr/>
          <p:nvPr/>
        </p:nvGraphicFramePr>
        <p:xfrm>
          <a:off x="0" y="809596"/>
          <a:ext cx="6858000" cy="6643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0"/>
            <a:ext cx="6857999" cy="92333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Структура безвозмездных поступлений от других бюджетов бюджетной системы в бюджет  города-курорта Железноводска Ставропольского края</a:t>
            </a:r>
            <a:endParaRPr lang="ru-RU" sz="18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1" y="881034"/>
          <a:ext cx="6857999" cy="9024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accent4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лановые назначения по расходам бюджета города-курорта Железноводска на 2024 год составят 2 664,77 млн. рублей, на 2025 год –             1 860,76 млн. рублей, в том числе условно утвержденные расходы – 23,7</a:t>
            </a:r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 рублей, и на 2026 год – 1 574,03 млн. рублей, в том числе условно утвержденные расходы –</a:t>
            </a:r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6,5 млн. рублей.</a:t>
            </a: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в 2024 году увеличатся на 381,17млн. рублей относительно расходов 2023 года и увеличатся на 347,67 млн. рублей относительно расходов 2023 года, в 2025 году уменьшатся на 804,1 млн. рублей относительно уровня 2024 года, в 2026 году уменьшатся на 286,73 млн. рублей относительно уровня 2025 года. 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расходов бюджета города-курорта Железноводска Ставропольского края за 2022-2026 года.</a:t>
            </a:r>
          </a:p>
          <a:p>
            <a:pPr indent="44450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Object 92"/>
          <p:cNvGraphicFramePr>
            <a:graphicFrameLocks noChangeAspect="1"/>
          </p:cNvGraphicFramePr>
          <p:nvPr/>
        </p:nvGraphicFramePr>
        <p:xfrm>
          <a:off x="857235" y="5238752"/>
          <a:ext cx="5357851" cy="3804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5000639" y="4310058"/>
            <a:ext cx="1408793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l" rtl="0">
              <a:defRPr sz="1000"/>
            </a:pP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6" name="Группа 9"/>
          <p:cNvGrpSpPr/>
          <p:nvPr/>
        </p:nvGrpSpPr>
        <p:grpSpPr>
          <a:xfrm rot="183112">
            <a:off x="1028098" y="4524812"/>
            <a:ext cx="2730101" cy="1124218"/>
            <a:chOff x="840757" y="3115098"/>
            <a:chExt cx="3060764" cy="1089100"/>
          </a:xfrm>
          <a:solidFill>
            <a:srgbClr val="00B050"/>
          </a:solidFill>
        </p:grpSpPr>
        <p:sp>
          <p:nvSpPr>
            <p:cNvPr id="7" name="Стрелка вверх 6"/>
            <p:cNvSpPr/>
            <p:nvPr>
              <p:custDataLst>
                <p:tags r:id="rId2"/>
              </p:custDataLst>
            </p:nvPr>
          </p:nvSpPr>
          <p:spPr>
            <a:xfrm rot="3863698">
              <a:off x="3630243" y="3129376"/>
              <a:ext cx="285556" cy="257000"/>
            </a:xfrm>
            <a:prstGeom prst="up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F0"/>
                  </a:gs>
                  <a:gs pos="0">
                    <a:srgbClr val="00B0F0"/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Группа 25"/>
          <p:cNvGrpSpPr/>
          <p:nvPr/>
        </p:nvGrpSpPr>
        <p:grpSpPr>
          <a:xfrm rot="1732608">
            <a:off x="3515450" y="5130275"/>
            <a:ext cx="1672436" cy="196925"/>
            <a:chOff x="1389359" y="3286222"/>
            <a:chExt cx="1435312" cy="285556"/>
          </a:xfrm>
          <a:solidFill>
            <a:srgbClr val="7030A0"/>
          </a:solidFill>
        </p:grpSpPr>
        <p:sp>
          <p:nvSpPr>
            <p:cNvPr id="10" name="Стрелка вверх 9"/>
            <p:cNvSpPr/>
            <p:nvPr>
              <p:custDataLst>
                <p:tags r:id="rId1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2" name="Прямая соединительная линия 11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FFCCFF"/>
                  </a:gs>
                  <a:gs pos="2000">
                    <a:srgbClr val="FFCCFF"/>
                  </a:gs>
                </a:gsLst>
                <a:lin ang="10800000" scaled="1"/>
                <a:tileRect/>
              </a:gradFill>
              <a:prstDash val="sysDot"/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44500"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финансирования в 2024 году</a:t>
            </a: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щественной расходной статьей традиционно остаются расходы на отрасли социальной сферы: в 2024 году на социальную политику запланировано 277,0 млн. рублей (10,4 % от всех расходов бюджета города), на образование – 1 705,6 млн. рублей (64,0 %), на культуру – 63,2 млн. рублей (2,4 %), на физ.культуру и спорт – 32,1 млн.рублей (1,2 %), что в общей сумме составляет 2 077,9 млн. рублей (78 % от всех расходов бюджета города).</a:t>
            </a: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/>
        </p:nvGraphicFramePr>
        <p:xfrm>
          <a:off x="1285861" y="3309929"/>
          <a:ext cx="4572032" cy="2571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Box 1"/>
          <p:cNvSpPr txBox="1">
            <a:spLocks noChangeArrowheads="1"/>
          </p:cNvSpPr>
          <p:nvPr/>
        </p:nvSpPr>
        <p:spPr bwMode="auto">
          <a:xfrm>
            <a:off x="4500570" y="3309931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Object 92"/>
          <p:cNvGraphicFramePr>
            <a:graphicFrameLocks noChangeAspect="1"/>
          </p:cNvGraphicFramePr>
          <p:nvPr/>
        </p:nvGraphicFramePr>
        <p:xfrm>
          <a:off x="1071549" y="6024570"/>
          <a:ext cx="5357851" cy="3447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3500439" y="6953269"/>
            <a:ext cx="155524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400" b="1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14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0"/>
            <a:ext cx="6715148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циональные проекты в 2024 году</a:t>
            </a:r>
          </a:p>
          <a:p>
            <a:pPr indent="444500" algn="ctr" eaLnBrk="1" hangingPunct="1">
              <a:defRPr/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ритетным направлением расходования средств краевого бюджета в 2024 году и плановом периоде 2025 и 2026 годов является достижение национальных целей развития на период до 2030 года, определенных Указом Президента РФ от 21.07.2020 № 474 «О национальных целях развития Российской Федерации на период до 2030 года»,</a:t>
            </a:r>
            <a:r>
              <a:rPr lang="ru-RU" sz="1200" dirty="0" smtClean="0"/>
              <a:t>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редством реализации региональных проектов, направленных на достижение соответствующих результатов реализации федеральных проектов, ориентированных на достижение целей и показателей национальных проектов.</a:t>
            </a:r>
          </a:p>
          <a:p>
            <a:pPr indent="444500" algn="just" eaLnBrk="1" hangingPunct="1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ая сумма ассигнований на эти цели в будущем году </a:t>
            </a:r>
            <a:r>
              <a:rPr lang="ru-RU" sz="12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ит 985 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 рублей. </a:t>
            </a: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3 году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5072074" y="2881298"/>
            <a:ext cx="150019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2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9" name="Пятиугольник 28"/>
          <p:cNvSpPr/>
          <p:nvPr/>
        </p:nvSpPr>
        <p:spPr>
          <a:xfrm>
            <a:off x="2571744" y="3238488"/>
            <a:ext cx="2357454" cy="792088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5000636" y="3238488"/>
            <a:ext cx="1714512" cy="792088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5214950" y="5167314"/>
            <a:ext cx="1428760" cy="54207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5214950" y="5953132"/>
            <a:ext cx="1428760" cy="54207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5286388" y="6953264"/>
            <a:ext cx="1428760" cy="57606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5" name="Пятиугольник 34"/>
          <p:cNvSpPr/>
          <p:nvPr/>
        </p:nvSpPr>
        <p:spPr>
          <a:xfrm>
            <a:off x="3429000" y="5238752"/>
            <a:ext cx="1440160" cy="446294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4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500438" y="6024570"/>
            <a:ext cx="1330114" cy="452568"/>
          </a:xfrm>
          <a:prstGeom prst="homePlat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8" name="Пятиугольник 37"/>
          <p:cNvSpPr/>
          <p:nvPr/>
        </p:nvSpPr>
        <p:spPr>
          <a:xfrm>
            <a:off x="3571876" y="6953264"/>
            <a:ext cx="1474127" cy="576064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937,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85728" y="5310190"/>
            <a:ext cx="2962588" cy="500067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Rectangle 19"/>
          <p:cNvSpPr>
            <a:spLocks noChangeArrowheads="1"/>
          </p:cNvSpPr>
          <p:nvPr/>
        </p:nvSpPr>
        <p:spPr bwMode="auto">
          <a:xfrm>
            <a:off x="285728" y="5381628"/>
            <a:ext cx="2952898" cy="338554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Культурная среда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57166" y="5953132"/>
            <a:ext cx="2891150" cy="500067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Rectangle 19"/>
          <p:cNvSpPr>
            <a:spLocks noChangeArrowheads="1"/>
          </p:cNvSpPr>
          <p:nvPr/>
        </p:nvSpPr>
        <p:spPr bwMode="auto">
          <a:xfrm>
            <a:off x="357166" y="6024570"/>
            <a:ext cx="2928958" cy="338554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Чистая страна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357166" y="7024702"/>
            <a:ext cx="2962588" cy="1428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357166" y="7024702"/>
            <a:ext cx="2928958" cy="338554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8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Современная школа</a:t>
            </a:r>
            <a:r>
              <a:rPr lang="ru-RU" sz="20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285728" y="4310058"/>
            <a:ext cx="2953468" cy="830997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3429000" y="4452934"/>
            <a:ext cx="1440160" cy="446294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41,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5143512" y="4310058"/>
            <a:ext cx="1428760" cy="54207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6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285728" y="8024834"/>
            <a:ext cx="2962588" cy="114300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Rectangle 19"/>
          <p:cNvSpPr>
            <a:spLocks noChangeArrowheads="1"/>
          </p:cNvSpPr>
          <p:nvPr/>
        </p:nvSpPr>
        <p:spPr bwMode="auto">
          <a:xfrm>
            <a:off x="357166" y="8096272"/>
            <a:ext cx="2857520" cy="1003352"/>
          </a:xfrm>
          <a:prstGeom prst="rect">
            <a:avLst/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8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«Патриотическое воспитание граждан Российской Федерации</a:t>
            </a:r>
            <a:r>
              <a:rPr lang="ru-RU" sz="2000" b="1" dirty="0" smtClean="0">
                <a:solidFill>
                  <a:srgbClr val="333300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ru-RU" sz="2000" b="1" dirty="0">
              <a:solidFill>
                <a:srgbClr val="3333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5214950" y="8310586"/>
            <a:ext cx="1428760" cy="576064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5" name="Пятиугольник 24"/>
          <p:cNvSpPr/>
          <p:nvPr/>
        </p:nvSpPr>
        <p:spPr>
          <a:xfrm>
            <a:off x="3571876" y="8310586"/>
            <a:ext cx="1474127" cy="576064"/>
          </a:xfrm>
          <a:prstGeom prst="homePlate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9</a:t>
            </a:r>
            <a:endParaRPr lang="ru-RU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/>
        </p:nvSpPr>
        <p:spPr>
          <a:xfrm>
            <a:off x="0" y="-190536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</a:t>
            </a:r>
            <a:r>
              <a:rPr lang="ru-RU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й из регионального (краевого) бюджета </a:t>
            </a:r>
          </a:p>
          <a:p>
            <a:pPr algn="ctr"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4 году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 Box 5"/>
          <p:cNvSpPr txBox="1">
            <a:spLocks noChangeArrowheads="1"/>
          </p:cNvSpPr>
          <p:nvPr/>
        </p:nvSpPr>
        <p:spPr bwMode="auto">
          <a:xfrm>
            <a:off x="5072074" y="145253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latin typeface="Arial" charset="0"/>
              </a:rPr>
              <a:t>млн.рублей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-24" y="2024042"/>
          <a:ext cx="6858024" cy="6297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17727"/>
                <a:gridCol w="1253731"/>
                <a:gridCol w="1086566"/>
              </a:tblGrid>
              <a:tr h="1428760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ysClr val="windowText" lastClr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именование субсидии</a:t>
                      </a:r>
                      <a:endParaRPr lang="ru-RU" sz="2000" b="1" dirty="0">
                        <a:solidFill>
                          <a:sysClr val="windowText" lastClr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36000" marB="3600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Всего сумма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006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рганизация бесплатного горячего питания обучающихся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,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обретение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узыкальных инструментов, оборудования и материалов для муниципальных образовательных организаций дополнительного образования (детских школ искусств) по видам искусств и профессиональных образовательных организац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0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548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обретение жилья молодым семьям 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 rtl="0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,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4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07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мплектование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книжных фондо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817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временной городской среды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1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751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илактика терроризма 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8829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здание новых мест в общеобразовательных организациях в связи с ростом числа обучающихся, вызванным демографическим фактором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37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,2</a:t>
                      </a:r>
                    </a:p>
                    <a:p>
                      <a:pPr algn="ctr" rtl="0" fontAlgn="ctr"/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8829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ыполнение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комплексных кадастровых работ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7519">
                <a:tc>
                  <a:txBody>
                    <a:bodyPr/>
                    <a:lstStyle/>
                    <a:p>
                      <a:pPr algn="l" rtl="0" fontAlgn="ctr"/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того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: 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40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000"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Ставропольского края в 2024 году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цируются по:</a:t>
            </a:r>
          </a:p>
          <a:p>
            <a:pPr indent="444500" algn="just" eaLnBrk="1" hangingPunct="1">
              <a:defRPr/>
            </a:pP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-ти разделам бюджетной классифик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-ти главным распорядителям бюджетных средств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4-ти муниципальным программам.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4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170" name="Object 5"/>
          <p:cNvGraphicFramePr>
            <a:graphicFrameLocks noChangeAspect="1"/>
          </p:cNvGraphicFramePr>
          <p:nvPr/>
        </p:nvGraphicFramePr>
        <p:xfrm>
          <a:off x="500042" y="1244600"/>
          <a:ext cx="6910830" cy="8661400"/>
        </p:xfrm>
        <a:graphic>
          <a:graphicData uri="http://schemas.openxmlformats.org/presentationml/2006/ole">
            <p:oleObj spid="_x0000_s7170" name="Worksheet" r:id="rId3" imgW="9401194" imgH="6010241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5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195" name="Object 5"/>
          <p:cNvGraphicFramePr>
            <a:graphicFrameLocks noChangeAspect="1"/>
          </p:cNvGraphicFramePr>
          <p:nvPr/>
        </p:nvGraphicFramePr>
        <p:xfrm>
          <a:off x="428604" y="1666852"/>
          <a:ext cx="9572668" cy="7572428"/>
        </p:xfrm>
        <a:graphic>
          <a:graphicData uri="http://schemas.openxmlformats.org/presentationml/2006/ole">
            <p:oleObj spid="_x0000_s8195" name="Worksheet" r:id="rId3" imgW="8686800" imgH="600075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indent="450850" algn="just">
              <a:lnSpc>
                <a:spcPts val="2880"/>
              </a:lnSpc>
              <a:defRPr/>
            </a:pPr>
            <a:endParaRPr lang="ru-RU" sz="1200" b="1" i="1" kern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2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1922" name="Picture 2" descr="https://stv24.tv/wp-content/uploads/2020/04/30/4b4943c2-73aa-4ecd-a749-b5869efbf0fc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00108" y="380968"/>
            <a:ext cx="5357850" cy="368770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pic>
      <p:pic>
        <p:nvPicPr>
          <p:cNvPr id="2" name="Picture 2" descr="https://sevkavportal.ru/media/k2/items/cache/f284d236d892725c37659398ed7f1a4e_X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3314" y="5953132"/>
            <a:ext cx="2714644" cy="3620656"/>
          </a:xfrm>
          <a:prstGeom prst="rect">
            <a:avLst/>
          </a:prstGeom>
          <a:noFill/>
        </p:spPr>
      </p:pic>
      <p:pic>
        <p:nvPicPr>
          <p:cNvPr id="55298" name="Picture 2" descr="https://zheleznovodsk.sutochno.ru/doc/images/galleries/180/zhelezno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24494" y="4024310"/>
            <a:ext cx="3033467" cy="2039745"/>
          </a:xfrm>
          <a:prstGeom prst="rect">
            <a:avLst/>
          </a:prstGeom>
          <a:noFill/>
        </p:spPr>
      </p:pic>
      <p:pic>
        <p:nvPicPr>
          <p:cNvPr id="5" name="Picture 2" descr="В Курортном озере Железноводска замечена гигантская черепаха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00110" y="5905594"/>
            <a:ext cx="2765644" cy="3690878"/>
          </a:xfrm>
          <a:prstGeom prst="rect">
            <a:avLst/>
          </a:prstGeom>
          <a:noFill/>
        </p:spPr>
      </p:pic>
      <p:pic>
        <p:nvPicPr>
          <p:cNvPr id="3" name="Picture 2" descr="https://zheleznovodsk.sutochno.ru/doc/images/galleries/180/zhelezno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83725" y="4024306"/>
            <a:ext cx="2938117" cy="1975630"/>
          </a:xfrm>
          <a:prstGeom prst="rect">
            <a:avLst/>
          </a:prstGeom>
          <a:solidFill>
            <a:schemeClr val="bg2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1031084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разделов деятельности на 2026 год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219" name="Object 5"/>
          <p:cNvGraphicFramePr>
            <a:graphicFrameLocks noChangeAspect="1"/>
          </p:cNvGraphicFramePr>
          <p:nvPr/>
        </p:nvGraphicFramePr>
        <p:xfrm>
          <a:off x="-215900" y="2095500"/>
          <a:ext cx="8074056" cy="7500970"/>
        </p:xfrm>
        <a:graphic>
          <a:graphicData uri="http://schemas.openxmlformats.org/presentationml/2006/ole">
            <p:oleObj spid="_x0000_s9219" name="Worksheet" r:id="rId3" imgW="7486765" imgH="4943577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городе-курорте Железноводске Ставропольского края осуществляют свою деятельность 29 муниципальных образовательных учреждений, в том числе: 15 дошкольных образовательных учреждений, 5 учреждений дополнительного образования детей, 9 общеобразовательных учреждений.</a:t>
            </a:r>
          </a:p>
          <a:p>
            <a:pPr indent="450850" algn="just" eaLnBrk="1" hangingPunct="1"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расходов по отрасли связано  с выделением дополнительных средств на реализацию Указов Президента Российской Федерации, направленных на повышение оплаты труда педагогическим работникам образовательных организаций в целях достижения показателей средней заработной платы, установленных «дорожной картой» в соответствии с распоряжением Правительства Ставропольского края от 01 марта 2013 года № 52-рп; повышение минимального размера оплаты труда; на повышение оплаты труда категорий работников бюджетной сферы, которые не попадают под действие указов Президента Российской Федерации.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659607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66790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Образование»</a:t>
            </a: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266" name="Object 12"/>
          <p:cNvGraphicFramePr>
            <a:graphicFrameLocks noGrp="1" noChangeAspect="1"/>
          </p:cNvGraphicFramePr>
          <p:nvPr/>
        </p:nvGraphicFramePr>
        <p:xfrm>
          <a:off x="0" y="6596074"/>
          <a:ext cx="6827838" cy="3309926"/>
        </p:xfrm>
        <a:graphic>
          <a:graphicData uri="http://schemas.openxmlformats.org/presentationml/2006/ole">
            <p:oleObj spid="_x0000_s11266" name="Worksheet" r:id="rId3" imgW="6057976" imgH="2552768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357828" y="5738820"/>
            <a:ext cx="12938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788990" y="1381100"/>
            <a:ext cx="6068969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cs typeface="Times New Roman" pitchFamily="18" charset="0"/>
              </a:rPr>
              <a:t>Структура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 </a:t>
            </a:r>
            <a:r>
              <a:rPr lang="ru-RU" sz="1600" b="1" dirty="0">
                <a:cs typeface="Times New Roman" pitchFamily="18" charset="0"/>
              </a:rPr>
              <a:t>расходов бюджета по образованию в </a:t>
            </a:r>
            <a:r>
              <a:rPr lang="ru-RU" sz="1600" b="1" dirty="0" smtClean="0">
                <a:cs typeface="Times New Roman" pitchFamily="18" charset="0"/>
              </a:rPr>
              <a:t>2022-2026 годах</a:t>
            </a:r>
            <a:endParaRPr lang="ru-RU" dirty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0" y="1952606"/>
          <a:ext cx="6858001" cy="4272638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08FB837D-C827-4EFA-A057-4D05807E0F7C}</a:tableStyleId>
              </a:tblPr>
              <a:tblGrid>
                <a:gridCol w="653141"/>
                <a:gridCol w="2041071"/>
                <a:gridCol w="624174"/>
                <a:gridCol w="824994"/>
                <a:gridCol w="797329"/>
                <a:gridCol w="884904"/>
                <a:gridCol w="1032388"/>
              </a:tblGrid>
              <a:tr h="3137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294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Фа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Оценка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Прое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(Проект)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51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0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азование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9,91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97,83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705,63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64,22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43,90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75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1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е образование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2,83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96,9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32,36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34,47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21,82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80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2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е образование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5,84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70,91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0,90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31,95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24,10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3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е образование детей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,42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0,76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2,20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7,61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7,80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94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7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лодежная политика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67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,88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,16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,17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3,17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образовани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,15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3,29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,01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7,02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3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7,01</a:t>
                      </a:r>
                      <a:endParaRPr lang="ru-RU" sz="13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Образование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школьное образование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lnSpc>
                <a:spcPct val="150000"/>
              </a:lnSpc>
              <a:defRPr/>
            </a:pPr>
            <a:r>
              <a:rPr lang="ru-RU" sz="1400" b="1" dirty="0" smtClean="0">
                <a:solidFill>
                  <a:srgbClr val="FF0000"/>
                </a:solidFill>
              </a:rPr>
              <a:t>В городе-курорте Железноводске Ставропольского края действует 15 дошкольных образовательных учреждений - детских садов, в которых обучается 2 696 детей.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5357826" y="1381100"/>
            <a:ext cx="1293813" cy="27699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 smtClean="0"/>
              <a:t>тыс. </a:t>
            </a:r>
            <a:r>
              <a:rPr lang="ru-RU" sz="1800" b="1" i="1" dirty="0"/>
              <a:t>рублей</a:t>
            </a:r>
          </a:p>
        </p:txBody>
      </p:sp>
      <p:graphicFrame>
        <p:nvGraphicFramePr>
          <p:cNvPr id="12" name="Object 3"/>
          <p:cNvGraphicFramePr>
            <a:graphicFrameLocks noGrp="1" noChangeAspect="1"/>
          </p:cNvGraphicFramePr>
          <p:nvPr/>
        </p:nvGraphicFramePr>
        <p:xfrm>
          <a:off x="0" y="2024042"/>
          <a:ext cx="6858000" cy="3143272"/>
        </p:xfrm>
        <a:graphic>
          <a:graphicData uri="http://schemas.openxmlformats.org/presentationml/2006/ole">
            <p:oleObj spid="_x0000_s12291" name="Worksheet" r:id="rId3" imgW="5953080" imgH="1923914" progId="Excel.Sheet.8">
              <p:embed/>
            </p:oleObj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ее и дополнительное образование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0" y="1881168"/>
          <a:ext cx="6858000" cy="4143402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08FB837D-C827-4EFA-A057-4D05807E0F7C}</a:tableStyleId>
              </a:tblPr>
              <a:tblGrid>
                <a:gridCol w="1142984"/>
                <a:gridCol w="1371625"/>
                <a:gridCol w="609602"/>
                <a:gridCol w="990604"/>
                <a:gridCol w="885821"/>
                <a:gridCol w="942986"/>
                <a:gridCol w="914378"/>
              </a:tblGrid>
              <a:tr h="1271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406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en-US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/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en-US" sz="14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55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обра-зовательные школы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85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520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593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473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реждения дополни-тельного образования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79 </a:t>
                      </a: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36 </a:t>
                      </a: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57 </a:t>
                      </a: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881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864 </a:t>
                      </a: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</a:t>
                      </a: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kumimoji="0" lang="ru-RU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756 </a:t>
                      </a: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</a:t>
                      </a: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kumimoji="0" lang="ru-RU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750 </a:t>
                      </a: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2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библиотечная централизованная система, Пушкинская галерея, Городской Дворец культуры.</a:t>
            </a: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2852" y="3809992"/>
          <a:ext cx="6643734" cy="3939681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704175"/>
                <a:gridCol w="1564833"/>
                <a:gridCol w="704175"/>
                <a:gridCol w="986032"/>
                <a:gridCol w="871027"/>
                <a:gridCol w="884798"/>
                <a:gridCol w="928694"/>
              </a:tblGrid>
              <a:tr h="50098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6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563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фа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оценка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474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, кинематограф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,62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5,93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3,16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0,79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61,32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09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,19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8,61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3,07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3,15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53,68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948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культуры, кинематографи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4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32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,09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64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,64</a:t>
                      </a:r>
                      <a:endParaRPr lang="ru-RU" sz="14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714357" y="2825040"/>
            <a:ext cx="604842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2022-2026 годах</a:t>
            </a:r>
            <a:endParaRPr lang="ru-RU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1009653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Культура»</a:t>
            </a:r>
          </a:p>
          <a:p>
            <a:pPr algn="ctr" eaLnBrk="1" hangingPunct="1">
              <a:defRPr/>
            </a:pPr>
            <a:endParaRPr lang="ru-RU" sz="1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2550" lvl="1" indent="374650" algn="just"/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объема расходов в 2023 связано с увеличением в 2023 году расходов на заработную плату работников муниципальных учреждений культуры, подпадающих под действие майских указов Президента Российской Федерации, исходя из значения среднемесячного дохода от трудовой деятельности в 2022 году, а так же в связи с индексацией  с 01 июля 2022 года на 10 процентов</a:t>
            </a:r>
            <a:r>
              <a:rPr lang="ru-RU" sz="1800" dirty="0" smtClean="0">
                <a:solidFill>
                  <a:schemeClr val="tx1"/>
                </a:solidFill>
              </a:rPr>
              <a:t>.</a:t>
            </a:r>
            <a:endParaRPr lang="ru-RU" sz="1800" b="1" dirty="0" smtClean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1" y="4791074"/>
          <a:ext cx="6858000" cy="3590949"/>
        </p:xfrm>
        <a:graphic>
          <a:graphicData uri="http://schemas.openxmlformats.org/presentationml/2006/ole">
            <p:oleObj spid="_x0000_s14338" name="Worksheet" r:id="rId3" imgW="6362573" imgH="3105082" progId="Excel.Sheet.8">
              <p:embed/>
            </p:oleObj>
          </a:graphicData>
        </a:graphic>
      </p:graphicFrame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143512" y="4095744"/>
            <a:ext cx="1293813" cy="246221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/>
              <a:t>млн. рублей</a:t>
            </a:r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00372" y="8667776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309530"/>
            <a:ext cx="6858000" cy="1045372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Культуру в расчете на 1 жителя города-курорта Железноводска Ставропольского края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0" y="3449638"/>
          <a:ext cx="6877050" cy="2195512"/>
        </p:xfrm>
        <a:graphic>
          <a:graphicData uri="http://schemas.openxmlformats.org/presentationml/2006/ole">
            <p:oleObj spid="_x0000_s15363" name="Worksheet" r:id="rId3" imgW="5372024" imgH="1714500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000636" y="2881298"/>
            <a:ext cx="1293813" cy="276999"/>
          </a:xfrm>
          <a:prstGeom prst="rect">
            <a:avLst/>
          </a:prstGeom>
          <a:solidFill>
            <a:schemeClr val="accent5">
              <a:lumMod val="40000"/>
              <a:lumOff val="60000"/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 smtClean="0"/>
              <a:t>тыс.рублей</a:t>
            </a:r>
            <a:endParaRPr lang="ru-RU" sz="1800" b="1" i="1" dirty="0"/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28934" y="852490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27274" y="1381101"/>
            <a:ext cx="6416436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600" b="1" dirty="0" smtClean="0">
                <a:cs typeface="Times New Roman" pitchFamily="18" charset="0"/>
              </a:rPr>
              <a:t>2022-2026 годах</a:t>
            </a:r>
            <a:endParaRPr lang="ru-RU" sz="1600" b="1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-2" y="2452673"/>
          <a:ext cx="6858002" cy="4814128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774863"/>
                <a:gridCol w="1439693"/>
                <a:gridCol w="991783"/>
                <a:gridCol w="890650"/>
                <a:gridCol w="979714"/>
                <a:gridCol w="924067"/>
                <a:gridCol w="857232"/>
              </a:tblGrid>
              <a:tr h="64794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     (млн. рублей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127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фа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оценка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949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ая полит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7,31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7,9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77,02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86,28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80,44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406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ое обеспечение населен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3,17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8,7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98,76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97,68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96,07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510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храна семьи и детств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4,7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9,8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7,88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8,57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4,34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8753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социальной политик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41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,3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0,38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0,03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0,03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96" y="8310586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Социальная политика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На уменьшение объемов расходов в 2024 году повлияло отсутствие субвенции на ежемесячную выплату в связи с рождением (усыновлением) первого ребенка, и субвенции на выплаты государственных пособий лицам, не подлежащим обязательному социальному страхованию на случай временной нетрудоспособности и в связи с материнством, и лицам, уволенным в связи с ликвидацией организаций (прекращением деятельности, полномочий физическими лицами), в соответствии с Федеральным законом от 19 мая 1995 года № 81-ФЗ «О государственных пособиях гражданам, имеющим детей». 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3250" name="Object 12"/>
          <p:cNvGraphicFramePr>
            <a:graphicFrameLocks noGrp="1" noChangeAspect="1"/>
          </p:cNvGraphicFramePr>
          <p:nvPr/>
        </p:nvGraphicFramePr>
        <p:xfrm>
          <a:off x="-714404" y="3809992"/>
          <a:ext cx="6888163" cy="3000375"/>
        </p:xfrm>
        <a:graphic>
          <a:graphicData uri="http://schemas.openxmlformats.org/presentationml/2006/ole">
            <p:oleObj spid="_x0000_s53250" name="Worksheet" r:id="rId3" imgW="6181833" imgH="2695439" progId="Excel.Sheet.8">
              <p:embed/>
            </p:oleObj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4786322" y="3452802"/>
            <a:ext cx="12938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/>
          <p:cNvSpPr/>
          <p:nvPr/>
        </p:nvSpPr>
        <p:spPr>
          <a:xfrm>
            <a:off x="642918" y="4595810"/>
            <a:ext cx="5715040" cy="3643338"/>
          </a:xfrm>
          <a:prstGeom prst="roundRect">
            <a:avLst/>
          </a:prstGeom>
          <a:ln w="762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b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-833478"/>
            <a:ext cx="6858000" cy="1100145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innerShdw blurRad="114300">
              <a:prstClr val="black"/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НЯТИЯ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, за исключением средств, являющихся в соответствии с Бюджетным кодексом источниками финансирования дефицита бюджета;</a:t>
            </a: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85728" y="3952868"/>
            <a:ext cx="3214710" cy="1262082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85728" y="6167446"/>
            <a:ext cx="6357982" cy="100010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286256" y="3881430"/>
            <a:ext cx="2357454" cy="1285872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нансирования дефицита бюджета</a:t>
            </a: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1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23914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214952" y="2309794"/>
            <a:ext cx="12938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рублей</a:t>
            </a:r>
          </a:p>
        </p:txBody>
      </p:sp>
      <p:graphicFrame>
        <p:nvGraphicFramePr>
          <p:cNvPr id="54277" name="Object 3"/>
          <p:cNvGraphicFramePr>
            <a:graphicFrameLocks noGrp="1" noChangeAspect="1"/>
          </p:cNvGraphicFramePr>
          <p:nvPr/>
        </p:nvGraphicFramePr>
        <p:xfrm>
          <a:off x="0" y="2595546"/>
          <a:ext cx="6858000" cy="5499122"/>
        </p:xfrm>
        <a:graphic>
          <a:graphicData uri="http://schemas.openxmlformats.org/presentationml/2006/ole">
            <p:oleObj spid="_x0000_s54277" name="Worksheet" r:id="rId3" imgW="6534137" imgH="5476909" progId="Excel.Sheet.8">
              <p:embed/>
            </p:oleObj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71810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</a:rPr>
              <a:t>Расходы на меры социальной поддержки населения в 2024 году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342473632"/>
              </p:ext>
            </p:extLst>
          </p:nvPr>
        </p:nvGraphicFramePr>
        <p:xfrm>
          <a:off x="642918" y="3024174"/>
          <a:ext cx="5786478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Овал 6"/>
          <p:cNvSpPr/>
          <p:nvPr/>
        </p:nvSpPr>
        <p:spPr>
          <a:xfrm>
            <a:off x="3071810" y="4738686"/>
            <a:ext cx="1152000" cy="1151999"/>
          </a:xfrm>
          <a:prstGeom prst="ellipse">
            <a:avLst/>
          </a:prstGeom>
          <a:ln/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 prst="angle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39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rot="16200000" flipH="1">
            <a:off x="1643050" y="3667115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2"/>
          <p:cNvGrpSpPr/>
          <p:nvPr/>
        </p:nvGrpSpPr>
        <p:grpSpPr>
          <a:xfrm>
            <a:off x="214291" y="1381104"/>
            <a:ext cx="2214578" cy="2214577"/>
            <a:chOff x="103307" y="2564904"/>
            <a:chExt cx="2092429" cy="1512168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03307" y="2857582"/>
              <a:ext cx="2081088" cy="3782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37</a:t>
              </a:r>
              <a:endParaRPr lang="ru-RU" dirty="0"/>
            </a:p>
          </p:txBody>
        </p:sp>
      </p:grpSp>
      <p:grpSp>
        <p:nvGrpSpPr>
          <p:cNvPr id="15" name="Группа 25"/>
          <p:cNvGrpSpPr/>
          <p:nvPr/>
        </p:nvGrpSpPr>
        <p:grpSpPr>
          <a:xfrm>
            <a:off x="4000504" y="5087330"/>
            <a:ext cx="1294434" cy="1294435"/>
            <a:chOff x="4151784" y="3429000"/>
            <a:chExt cx="1440160" cy="1080120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61,2</a:t>
              </a:r>
            </a:p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%</a:t>
              </a:r>
            </a:p>
          </p:txBody>
        </p:sp>
        <p:grpSp>
          <p:nvGrpSpPr>
            <p:cNvPr id="17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8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9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0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1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22" name="Группа 13"/>
          <p:cNvGrpSpPr/>
          <p:nvPr/>
        </p:nvGrpSpPr>
        <p:grpSpPr>
          <a:xfrm>
            <a:off x="928672" y="7810520"/>
            <a:ext cx="2081846" cy="1540800"/>
            <a:chOff x="171004" y="4754736"/>
            <a:chExt cx="2268000" cy="1540800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258664" y="4856460"/>
              <a:ext cx="2081088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48</a:t>
              </a:r>
              <a:endParaRPr lang="ru-RU" dirty="0"/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 rot="5400000" flipH="1" flipV="1">
            <a:off x="2607466" y="7917679"/>
            <a:ext cx="1285883" cy="500066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24"/>
          <p:cNvGrpSpPr/>
          <p:nvPr/>
        </p:nvGrpSpPr>
        <p:grpSpPr>
          <a:xfrm>
            <a:off x="2714620" y="6667512"/>
            <a:ext cx="962918" cy="825642"/>
            <a:chOff x="5189125" y="5555686"/>
            <a:chExt cx="952507" cy="825642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,1%</a:t>
              </a:r>
            </a:p>
          </p:txBody>
        </p:sp>
        <p:grpSp>
          <p:nvGrpSpPr>
            <p:cNvPr id="29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0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1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2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33" name="Группа 45"/>
          <p:cNvGrpSpPr/>
          <p:nvPr/>
        </p:nvGrpSpPr>
        <p:grpSpPr>
          <a:xfrm>
            <a:off x="4348204" y="1309662"/>
            <a:ext cx="2509799" cy="2246084"/>
            <a:chOff x="132904" y="4754736"/>
            <a:chExt cx="2081088" cy="1512168"/>
          </a:xfrm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32904" y="4856460"/>
              <a:ext cx="2081088" cy="6837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36" name="Скругленный прямоугольник 35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6,3</a:t>
              </a:r>
              <a:endParaRPr lang="ru-RU" dirty="0"/>
            </a:p>
          </p:txBody>
        </p:sp>
      </p:grpSp>
      <p:cxnSp>
        <p:nvCxnSpPr>
          <p:cNvPr id="37" name="Прямая соединительная линия 36"/>
          <p:cNvCxnSpPr/>
          <p:nvPr/>
        </p:nvCxnSpPr>
        <p:spPr>
          <a:xfrm flipV="1">
            <a:off x="4857760" y="3597266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22"/>
          <p:cNvGrpSpPr/>
          <p:nvPr/>
        </p:nvGrpSpPr>
        <p:grpSpPr>
          <a:xfrm>
            <a:off x="2000240" y="4810128"/>
            <a:ext cx="1009476" cy="1285883"/>
            <a:chOff x="6763979" y="3789040"/>
            <a:chExt cx="1060216" cy="1067082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0,1%</a:t>
              </a:r>
            </a:p>
          </p:txBody>
        </p:sp>
        <p:grpSp>
          <p:nvGrpSpPr>
            <p:cNvPr id="40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41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2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3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4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5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6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47" name="Группа 39"/>
          <p:cNvGrpSpPr/>
          <p:nvPr/>
        </p:nvGrpSpPr>
        <p:grpSpPr>
          <a:xfrm>
            <a:off x="4429135" y="7953396"/>
            <a:ext cx="2081089" cy="1309824"/>
            <a:chOff x="132904" y="4754735"/>
            <a:chExt cx="2081088" cy="1512168"/>
          </a:xfrm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171004" y="4754735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132904" y="4856459"/>
              <a:ext cx="2081088" cy="6395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50" name="Скругленный прямоугольник 49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dirty="0" smtClean="0"/>
                <a:t>3,5</a:t>
              </a:r>
              <a:endParaRPr lang="ru-RU" dirty="0"/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 rot="16200000" flipH="1">
            <a:off x="3786190" y="7881958"/>
            <a:ext cx="928694" cy="357190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Группа 23"/>
          <p:cNvGrpSpPr/>
          <p:nvPr/>
        </p:nvGrpSpPr>
        <p:grpSpPr>
          <a:xfrm>
            <a:off x="3571876" y="7024702"/>
            <a:ext cx="433119" cy="470599"/>
            <a:chOff x="6096001" y="5805265"/>
            <a:chExt cx="577492" cy="470598"/>
          </a:xfrm>
        </p:grpSpPr>
        <p:sp>
          <p:nvSpPr>
            <p:cNvPr id="53" name="Овал 52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54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5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6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7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8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алидов</a:t>
            </a:r>
          </a:p>
          <a:p>
            <a:pPr algn="just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инвалидов в 2024 году и плановом периоде 2025 - 2026 г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1" name="Таблица 60"/>
          <p:cNvGraphicFramePr>
            <a:graphicFrameLocks noGrp="1"/>
          </p:cNvGraphicFramePr>
          <p:nvPr/>
        </p:nvGraphicFramePr>
        <p:xfrm>
          <a:off x="142853" y="3524241"/>
          <a:ext cx="6500857" cy="4444720"/>
        </p:xfrm>
        <a:graphic>
          <a:graphicData uri="http://schemas.openxmlformats.org/drawingml/2006/table">
            <a:tbl>
              <a:tblPr/>
              <a:tblGrid>
                <a:gridCol w="1679997"/>
                <a:gridCol w="876520"/>
                <a:gridCol w="658192"/>
                <a:gridCol w="1014764"/>
                <a:gridCol w="628310"/>
                <a:gridCol w="912641"/>
                <a:gridCol w="730433"/>
              </a:tblGrid>
              <a:tr h="81760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6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371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Объем 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560017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lang="ru-RU" sz="14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 человека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</a:t>
                      </a: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77,10 </a:t>
                      </a: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3,5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 человека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</a:t>
                      </a: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77,10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 руб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3,5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 человека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на 1 чел.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в </a:t>
                      </a: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месяц </a:t>
                      </a: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77,10 руб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3,5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предоставление мер социальной поддержки, социальное обеспечение отдельных категорий граждан (ветеранов, пенсионеров и других категорий населения) в 2023 году и плановом период е 2024-2025 гг.</a:t>
            </a: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1809728"/>
          <a:ext cx="6429420" cy="6887509"/>
        </p:xfrm>
        <a:graphic>
          <a:graphicData uri="http://schemas.openxmlformats.org/drawingml/2006/table">
            <a:tbl>
              <a:tblPr/>
              <a:tblGrid>
                <a:gridCol w="1404126"/>
                <a:gridCol w="1024766"/>
                <a:gridCol w="1000132"/>
                <a:gridCol w="785818"/>
                <a:gridCol w="662649"/>
                <a:gridCol w="739014"/>
                <a:gridCol w="812915"/>
              </a:tblGrid>
              <a:tr h="15525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3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315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0508"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6269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и труженикам тыла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514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87,69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58338,0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514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87,69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57448,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514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87,69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47448,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1015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теранам труда Ставропольского края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68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87,69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42771,8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68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87,69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42771,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68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87,69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42043,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31523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61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87,69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377,3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61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87,69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377,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61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87,69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377,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1015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емьям погибших ветеранов боевых действий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77,10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07,0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77,10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07,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77,10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07,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96490">
                <a:tc>
                  <a:txBody>
                    <a:bodyPr/>
                    <a:lstStyle/>
                    <a:p>
                      <a:pPr indent="0" algn="l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66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6000,00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99,4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66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6000,00 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99,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66 чел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  <a:p>
                      <a:pPr marL="274320" indent="-274320" algn="l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6000,00</a:t>
                      </a:r>
                      <a:r>
                        <a:rPr lang="ru-RU" sz="1200" b="1" baseline="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</a:t>
                      </a:r>
                      <a:r>
                        <a:rPr lang="ru-RU" sz="1200" b="1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руб.</a:t>
                      </a:r>
                      <a:endParaRPr lang="ru-RU" sz="12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99,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96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2024 год и плановый период 2025-2026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66" y="1452538"/>
          <a:ext cx="6357982" cy="7225665"/>
        </p:xfrm>
        <a:graphic>
          <a:graphicData uri="http://schemas.openxmlformats.org/drawingml/2006/table">
            <a:tbl>
              <a:tblPr/>
              <a:tblGrid>
                <a:gridCol w="1214424"/>
                <a:gridCol w="928694"/>
                <a:gridCol w="857278"/>
                <a:gridCol w="928694"/>
                <a:gridCol w="785818"/>
                <a:gridCol w="857256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6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6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6</a:t>
                      </a:r>
                      <a:endParaRPr lang="ru-RU" sz="16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Коли-чество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Получа-телей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Коли-чество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Получ-ателей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Коли-чество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Получа-телей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66800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613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882,83 руб. на 1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373,5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613 чел. 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882,83 руб. на 1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369,4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613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882,83 руб. на 1 чел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369,4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676401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61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59,78 руб. на 1 чел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337,8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61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59,78 руб. на 1 чел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337,8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61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59,78 руб. на 1 чел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335,7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19201">
                <a:tc>
                  <a:txBody>
                    <a:bodyPr/>
                    <a:lstStyle/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92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6578,10 руб. на 1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232,2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92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6578,10 руб. на 1 чел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361,5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92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 16578,10руб. на 1 чел 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361,7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отдельных категорий  граждан на 2024 год и плановый период 2025-2026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71480" y="1666852"/>
          <a:ext cx="5929354" cy="6295082"/>
        </p:xfrm>
        <a:graphic>
          <a:graphicData uri="http://schemas.openxmlformats.org/drawingml/2006/table">
            <a:tbl>
              <a:tblPr/>
              <a:tblGrid>
                <a:gridCol w="1428760"/>
                <a:gridCol w="785818"/>
                <a:gridCol w="714380"/>
                <a:gridCol w="785818"/>
                <a:gridCol w="785818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Наименование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4</a:t>
                      </a:r>
                      <a:endParaRPr lang="ru-RU" sz="16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5</a:t>
                      </a:r>
                      <a:endParaRPr lang="ru-RU" sz="16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26</a:t>
                      </a:r>
                      <a:endParaRPr lang="ru-RU" sz="16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Получате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змер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выплат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Объем 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расходов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 тыс.руб.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субсидии на оплату жилого помещения </a:t>
                      </a: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и коммунальных </a:t>
                      </a: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услуг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73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02,9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783,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73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02,9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783,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73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02,95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783,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85999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, спортивной одежды и обуви и школьных принадлежностей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50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48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304,7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50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48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556,9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50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48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819,2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14686" y="859633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2023 год и плановый период 2024-2025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642918" y="1670053"/>
          <a:ext cx="5929354" cy="5723255"/>
        </p:xfrm>
        <a:graphic>
          <a:graphicData uri="http://schemas.openxmlformats.org/drawingml/2006/table">
            <a:tbl>
              <a:tblPr/>
              <a:tblGrid>
                <a:gridCol w="1785950"/>
                <a:gridCol w="714380"/>
                <a:gridCol w="642942"/>
                <a:gridCol w="714380"/>
                <a:gridCol w="642942"/>
                <a:gridCol w="642942"/>
                <a:gridCol w="78581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21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-телей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месячного пособия на ребенка 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63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,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705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выплата многодетным семьям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96  семьи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978,45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0797,4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96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семьи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978,45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2714,7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96 семьи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978,45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4803,8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indent="0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ыплата ежегодного социального пособия на проезд учащимся (студентам)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538,85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0,9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538,85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2,1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 чел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538,85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3,4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500198">
                <a:tc>
                  <a:txBody>
                    <a:bodyPr/>
                    <a:lstStyle/>
                    <a:p>
                      <a:pPr indent="0" algn="just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lang="ru-RU" sz="1200" b="1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5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2550,00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9839,3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44  чел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12550,00 руб.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694,6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43248" y="883761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9905999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материнства и детства на 2024 год и плановый период 2025-2026 годы</a:t>
            </a: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14290" y="1670052"/>
          <a:ext cx="6500860" cy="6053766"/>
        </p:xfrm>
        <a:graphic>
          <a:graphicData uri="http://schemas.openxmlformats.org/drawingml/2006/table">
            <a:tbl>
              <a:tblPr/>
              <a:tblGrid>
                <a:gridCol w="1958089"/>
                <a:gridCol w="783236"/>
                <a:gridCol w="687699"/>
                <a:gridCol w="857256"/>
                <a:gridCol w="648107"/>
                <a:gridCol w="852091"/>
                <a:gridCol w="714382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350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8694">
                <a:tc>
                  <a:txBody>
                    <a:bodyPr/>
                    <a:lstStyle/>
                    <a:p>
                      <a:pPr indent="457200" algn="l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ыплата субсидии на оплату жилого помещения </a:t>
                      </a:r>
                      <a:r>
                        <a:rPr lang="ru-RU" sz="1400" b="1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коммунальных услуг</a:t>
                      </a:r>
                      <a:endParaRPr lang="ru-RU" sz="14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73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02,95 руб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783,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73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02,95 руб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783,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773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3102,95 руб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8783,0</a:t>
                      </a:r>
                      <a:endParaRPr lang="ru-RU" sz="12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indent="457200" algn="just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, спортивной одежды и обуви и школьных принадлежностей</a:t>
                      </a:r>
                      <a:endParaRPr lang="ru-RU" sz="1400" b="1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50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486 руб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304,7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50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486   руб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556,9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50 чел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486 руб.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6819,2</a:t>
                      </a:r>
                      <a:endParaRPr lang="ru-RU" sz="14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59633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966790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  <a:p>
            <a:pPr indent="450850" algn="just" eaLnBrk="1" hangingPunct="1">
              <a:defRPr/>
            </a:pP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уктура расходов бюджета по физической культуре и спорту в 2022-2026 годах.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 eaLnBrk="1" hangingPunct="1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20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8" y="4024306"/>
          <a:ext cx="6357983" cy="4562755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950034"/>
                <a:gridCol w="1390869"/>
                <a:gridCol w="682146"/>
                <a:gridCol w="833734"/>
                <a:gridCol w="786689"/>
                <a:gridCol w="880779"/>
                <a:gridCol w="833732"/>
              </a:tblGrid>
              <a:tr h="60179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527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фа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оценка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(проект)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499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2,66</a:t>
                      </a:r>
                      <a:endParaRPr lang="ru-RU" sz="16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2,06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8,74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,27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02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6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9,67</a:t>
                      </a:r>
                      <a:endParaRPr lang="ru-RU" sz="16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8,84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,5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6,04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02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2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9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0855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3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08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,18</a:t>
                      </a:r>
                      <a:endParaRPr lang="ru-RU" sz="1600" b="0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,41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,42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kumimoji="0" lang="ru-RU" sz="1600" b="0" i="0" u="none" strike="noStrike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,42</a:t>
                      </a:r>
                    </a:p>
                  </a:txBody>
                  <a:tcPr marL="7620" marR="7620" marT="7619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дел «Физическая культура и спорт»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857208" y="2166920"/>
            <a:ext cx="6000792" cy="73818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143512" y="1238227"/>
            <a:ext cx="128588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graphicFrame>
        <p:nvGraphicFramePr>
          <p:cNvPr id="57347" name="Object 3"/>
          <p:cNvGraphicFramePr>
            <a:graphicFrameLocks noGrp="1" noChangeAspect="1"/>
          </p:cNvGraphicFramePr>
          <p:nvPr/>
        </p:nvGraphicFramePr>
        <p:xfrm>
          <a:off x="219075" y="6950074"/>
          <a:ext cx="6496073" cy="2217767"/>
        </p:xfrm>
        <a:graphic>
          <a:graphicData uri="http://schemas.openxmlformats.org/presentationml/2006/ole">
            <p:oleObj spid="_x0000_s57347" name="Worksheet" r:id="rId3" imgW="5524627" imgH="1323839" progId="Excel.Sheet.8">
              <p:embed/>
            </p:oleObj>
          </a:graphicData>
        </a:graphic>
      </p:graphicFrame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286389" y="6381761"/>
            <a:ext cx="12938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 smtClean="0"/>
              <a:t>тыс.рублей</a:t>
            </a:r>
            <a:endParaRPr lang="ru-RU" sz="1600" b="1" i="1" dirty="0"/>
          </a:p>
        </p:txBody>
      </p:sp>
      <p:graphicFrame>
        <p:nvGraphicFramePr>
          <p:cNvPr id="56322" name="Object 12"/>
          <p:cNvGraphicFramePr>
            <a:graphicFrameLocks noGrp="1" noChangeAspect="1"/>
          </p:cNvGraphicFramePr>
          <p:nvPr/>
        </p:nvGraphicFramePr>
        <p:xfrm>
          <a:off x="0" y="377825"/>
          <a:ext cx="6864350" cy="3779838"/>
        </p:xfrm>
        <a:graphic>
          <a:graphicData uri="http://schemas.openxmlformats.org/presentationml/2006/ole">
            <p:oleObj spid="_x0000_s57346" name="Worksheet" r:id="rId4" imgW="5010239" imgH="2762182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соответствии с Бюджетным кодексом Российской Федерации доходы бюджетов образуются за счет налоговых и неналоговых доходов, а также за счет безвозмездных поступлений.</a:t>
            </a: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, поступающие в бюджет города Железноводска</a:t>
            </a: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>
              <a:buFontTx/>
              <a:buChar char="-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7675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28671" y="2952738"/>
            <a:ext cx="1000132" cy="4714908"/>
          </a:xfrm>
          <a:prstGeom prst="roundRect">
            <a:avLst>
              <a:gd name="adj" fmla="val 10513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ВЫЕ ДОХОДЫ ГОРОДА ЖЕЛЕЗНОВОДСКА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285992" y="2952736"/>
            <a:ext cx="4143404" cy="928694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СТНЫЕ НАЛОГИ</a:t>
            </a:r>
          </a:p>
          <a:p>
            <a:pPr marL="92075" indent="-92075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лог на имущество физических лиц</a:t>
            </a:r>
          </a:p>
          <a:p>
            <a:pPr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емельный налог</a:t>
            </a:r>
          </a:p>
          <a:p>
            <a:pPr>
              <a:buFontTx/>
              <a:buChar char="-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285992" y="4095744"/>
            <a:ext cx="4143404" cy="1143008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t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ЫЕ НАЛОГИ И СБОР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 на доходы физических лиц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государственная пошлина 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акцизы 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285992" y="5381629"/>
            <a:ext cx="4143404" cy="2091651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t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ЕЦИАЛЬНЫЕ НАЛОГОВЫЕ РЕЖИМЫ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, взимаемый в связи с применением упрощен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налог, взимаемый в связи с применением патентной системы налогообложения</a:t>
            </a:r>
          </a:p>
          <a:p>
            <a:pPr marL="92075" indent="-92075" algn="just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  <a:latin typeface="Times New Roman"/>
              </a:rPr>
              <a:t> единый сельскохозяйственный налог</a:t>
            </a:r>
          </a:p>
          <a:p>
            <a:pPr marL="87313" lvl="1" algn="ctr">
              <a:tabLst>
                <a:tab pos="6719888" algn="l"/>
                <a:tab pos="6908800" algn="l"/>
              </a:tabLst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52490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80000"/>
              </a:lnSpc>
              <a:defRPr/>
            </a:pPr>
            <a:r>
              <a:rPr lang="ru-RU" alt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оплаты труда работников  муниципальных учреждений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00103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286388" y="1452538"/>
            <a:ext cx="13706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i="1" dirty="0" smtClean="0">
                <a:latin typeface="Arial" charset="0"/>
              </a:rPr>
              <a:t>млн.рублей</a:t>
            </a:r>
          </a:p>
        </p:txBody>
      </p:sp>
      <p:graphicFrame>
        <p:nvGraphicFramePr>
          <p:cNvPr id="41" name="Таблица 40"/>
          <p:cNvGraphicFramePr>
            <a:graphicFrameLocks noGrp="1"/>
          </p:cNvGraphicFramePr>
          <p:nvPr/>
        </p:nvGraphicFramePr>
        <p:xfrm>
          <a:off x="428605" y="2738423"/>
          <a:ext cx="6072229" cy="2071703"/>
        </p:xfrm>
        <a:graphic>
          <a:graphicData uri="http://schemas.openxmlformats.org/drawingml/2006/table">
            <a:tbl>
              <a:tblPr>
                <a:effectLst>
                  <a:innerShdw blurRad="63500" dist="50800" dir="8100000">
                    <a:prstClr val="black">
                      <a:alpha val="50000"/>
                    </a:prstClr>
                  </a:innerShdw>
                </a:effectLst>
                <a:tableStyleId>{F5AB1C69-6EDB-4FF4-983F-18BD219EF322}</a:tableStyleId>
              </a:tblPr>
              <a:tblGrid>
                <a:gridCol w="2017744"/>
                <a:gridCol w="1053035"/>
                <a:gridCol w="1003102"/>
                <a:gridCol w="1030140"/>
                <a:gridCol w="968208"/>
              </a:tblGrid>
              <a:tr h="790227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022 год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023 год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024 год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5 год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81476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kern="1200" spc="-2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600" b="1" kern="1200" spc="-20" baseline="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30 556,05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30 556,05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ahoma" pitchFamily="34" charset="0"/>
                          <a:cs typeface="Times New Roman" pitchFamily="18" charset="0"/>
                        </a:rPr>
                        <a:t>30 556,05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785927" y="2024043"/>
            <a:ext cx="3500462" cy="419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евые категории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5" name="Диаграмма 44"/>
          <p:cNvGraphicFramePr/>
          <p:nvPr>
            <p:extLst>
              <p:ext uri="{D42A27DB-BD31-4B8C-83A1-F6EECF244321}">
                <p14:modId xmlns:p14="http://schemas.microsoft.com/office/powerpoint/2010/main" xmlns="" val="3396452534"/>
              </p:ext>
            </p:extLst>
          </p:nvPr>
        </p:nvGraphicFramePr>
        <p:xfrm>
          <a:off x="1071546" y="6024571"/>
          <a:ext cx="5500726" cy="1135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6" name="Прямоугольник 45"/>
          <p:cNvSpPr/>
          <p:nvPr>
            <p:custDataLst>
              <p:tags r:id="rId1"/>
            </p:custDataLst>
          </p:nvPr>
        </p:nvSpPr>
        <p:spPr>
          <a:xfrm>
            <a:off x="2714620" y="5453067"/>
            <a:ext cx="1785950" cy="360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РОТ, руб.</a:t>
            </a:r>
          </a:p>
        </p:txBody>
      </p:sp>
      <p:sp>
        <p:nvSpPr>
          <p:cNvPr id="47" name="Прямоугольник 46"/>
          <p:cNvSpPr/>
          <p:nvPr>
            <p:custDataLst>
              <p:tags r:id="rId2"/>
            </p:custDataLst>
          </p:nvPr>
        </p:nvSpPr>
        <p:spPr>
          <a:xfrm>
            <a:off x="2214554" y="7310455"/>
            <a:ext cx="3930354" cy="8572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дексация оплаты труда работников бюджетной сферы  размере 10,0%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8" name="Picture 2" descr="C:\Users\ZhSuNA\Pictures\fss15256691929847878-a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57430" y="8453462"/>
            <a:ext cx="1857388" cy="1452538"/>
          </a:xfrm>
          <a:prstGeom prst="rect">
            <a:avLst/>
          </a:prstGeom>
          <a:noFill/>
        </p:spPr>
      </p:pic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4071943" y="6596074"/>
            <a:ext cx="819455" cy="36933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solidFill>
                  <a:schemeClr val="tx1"/>
                </a:solidFill>
                <a:cs typeface="Times New Roman" pitchFamily="18" charset="0"/>
              </a:rPr>
              <a:t>16 24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1107505" y="4520952"/>
            <a:ext cx="3096345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5229200" y="1568624"/>
            <a:ext cx="111158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cs typeface="Times New Roman" pitchFamily="18" charset="0"/>
              </a:rPr>
              <a:t>млн.рублей</a:t>
            </a:r>
          </a:p>
        </p:txBody>
      </p:sp>
      <p:sp>
        <p:nvSpPr>
          <p:cNvPr id="18" name="Скругленный прямоугольник 17"/>
          <p:cNvSpPr/>
          <p:nvPr>
            <p:custDataLst>
              <p:tags r:id="rId1"/>
            </p:custDataLst>
          </p:nvPr>
        </p:nvSpPr>
        <p:spPr>
          <a:xfrm>
            <a:off x="142852" y="3238488"/>
            <a:ext cx="2214578" cy="150019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>
            <p:custDataLst>
              <p:tags r:id="rId2"/>
            </p:custDataLst>
          </p:nvPr>
        </p:nvSpPr>
        <p:spPr>
          <a:xfrm>
            <a:off x="285728" y="3238488"/>
            <a:ext cx="1895162" cy="12464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Благоустройство 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квера в районе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Братской могилы воинов Советской армии</a:t>
            </a:r>
            <a:endParaRPr lang="ru-RU" sz="1500" b="1" dirty="0"/>
          </a:p>
        </p:txBody>
      </p:sp>
      <p:sp>
        <p:nvSpPr>
          <p:cNvPr id="25" name="Скругленный прямоугольник 24"/>
          <p:cNvSpPr/>
          <p:nvPr>
            <p:custDataLst>
              <p:tags r:id="rId3"/>
            </p:custDataLst>
          </p:nvPr>
        </p:nvSpPr>
        <p:spPr>
          <a:xfrm>
            <a:off x="357166" y="4238620"/>
            <a:ext cx="1683378" cy="391457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/>
              <a:t>41</a:t>
            </a:r>
            <a:r>
              <a:rPr lang="ru-RU" b="1" dirty="0" smtClean="0"/>
              <a:t>,</a:t>
            </a:r>
            <a:r>
              <a:rPr lang="en-US" b="1" dirty="0" smtClean="0"/>
              <a:t>3</a:t>
            </a:r>
            <a:endParaRPr lang="ru-RU" b="1" dirty="0"/>
          </a:p>
        </p:txBody>
      </p:sp>
      <p:sp>
        <p:nvSpPr>
          <p:cNvPr id="26" name="Скругленный прямоугольник 25"/>
          <p:cNvSpPr/>
          <p:nvPr>
            <p:custDataLst>
              <p:tags r:id="rId4"/>
            </p:custDataLst>
          </p:nvPr>
        </p:nvSpPr>
        <p:spPr>
          <a:xfrm>
            <a:off x="4429132" y="3024174"/>
            <a:ext cx="2286016" cy="1643074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>
            <p:custDataLst>
              <p:tags r:id="rId5"/>
            </p:custDataLst>
          </p:nvPr>
        </p:nvSpPr>
        <p:spPr>
          <a:xfrm>
            <a:off x="4286256" y="3024174"/>
            <a:ext cx="2571744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убсидия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МБУ «Курортный парк» (содержание территории города и курортной зоны)</a:t>
            </a:r>
            <a:endParaRPr lang="ru-RU" sz="1500" b="1" dirty="0"/>
          </a:p>
        </p:txBody>
      </p:sp>
      <p:sp>
        <p:nvSpPr>
          <p:cNvPr id="28" name="Скругленный прямоугольник 27"/>
          <p:cNvSpPr/>
          <p:nvPr>
            <p:custDataLst>
              <p:tags r:id="rId6"/>
            </p:custDataLst>
          </p:nvPr>
        </p:nvSpPr>
        <p:spPr>
          <a:xfrm>
            <a:off x="4786322" y="4095744"/>
            <a:ext cx="1683378" cy="432048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56,1</a:t>
            </a:r>
            <a:endParaRPr lang="ru-RU" b="1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60648" y="4953000"/>
            <a:ext cx="1944216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260648" y="5025008"/>
            <a:ext cx="1944216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Нижней каскадной лестницы</a:t>
            </a:r>
            <a:endParaRPr lang="ru-RU" sz="1500" b="1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04663" y="5817096"/>
            <a:ext cx="1683378" cy="360040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 smtClean="0"/>
              <a:t>5</a:t>
            </a:r>
            <a:r>
              <a:rPr lang="ru-RU" sz="2400" b="1" dirty="0" smtClean="0"/>
              <a:t>,</a:t>
            </a:r>
            <a:r>
              <a:rPr lang="en-US" sz="2400" b="1" dirty="0" smtClean="0"/>
              <a:t>1</a:t>
            </a:r>
            <a:endParaRPr lang="ru-RU" sz="2400" b="1" dirty="0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4725144" y="4880992"/>
            <a:ext cx="1918566" cy="14293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857760" y="5810256"/>
            <a:ext cx="1683378" cy="336806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/>
              <a:t>5</a:t>
            </a:r>
            <a:r>
              <a:rPr lang="ru-RU" b="1" dirty="0" smtClean="0"/>
              <a:t>,</a:t>
            </a:r>
            <a:r>
              <a:rPr lang="en-US" b="1" dirty="0" smtClean="0"/>
              <a:t>1</a:t>
            </a:r>
            <a:endParaRPr lang="ru-RU" b="1" dirty="0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428868" y="5881694"/>
            <a:ext cx="2071702" cy="928694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2214554" y="5953132"/>
            <a:ext cx="2428892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Уличное освещение</a:t>
            </a:r>
            <a:endParaRPr lang="ru-RU" sz="1500" b="1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643182" y="6310322"/>
            <a:ext cx="1683378" cy="432048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/>
              <a:t>43</a:t>
            </a:r>
            <a:r>
              <a:rPr lang="ru-RU" b="1" dirty="0" smtClean="0"/>
              <a:t>,</a:t>
            </a:r>
            <a:r>
              <a:rPr lang="en-US" b="1" dirty="0" smtClean="0"/>
              <a:t>6</a:t>
            </a:r>
            <a:endParaRPr lang="ru-RU" b="1" dirty="0"/>
          </a:p>
        </p:txBody>
      </p:sp>
      <p:grpSp>
        <p:nvGrpSpPr>
          <p:cNvPr id="2" name="Группа 8"/>
          <p:cNvGrpSpPr/>
          <p:nvPr/>
        </p:nvGrpSpPr>
        <p:grpSpPr>
          <a:xfrm>
            <a:off x="2621413" y="3414688"/>
            <a:ext cx="1599675" cy="1025447"/>
            <a:chOff x="3280593" y="1837348"/>
            <a:chExt cx="2577739" cy="1392963"/>
          </a:xfrm>
          <a:solidFill>
            <a:schemeClr val="accent5">
              <a:lumMod val="50000"/>
            </a:schemeClr>
          </a:solidFill>
        </p:grpSpPr>
        <p:sp>
          <p:nvSpPr>
            <p:cNvPr id="38" name="Скругленный прямоугольник 37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Скругленный прямоугольник 38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264,0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40" name="Прямая соединительная линия 39"/>
          <p:cNvCxnSpPr>
            <a:endCxn id="34" idx="0"/>
          </p:cNvCxnSpPr>
          <p:nvPr/>
        </p:nvCxnSpPr>
        <p:spPr>
          <a:xfrm rot="16200000" flipH="1">
            <a:off x="2802777" y="5219752"/>
            <a:ext cx="1296144" cy="2774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>
            <a:stCxn id="18" idx="3"/>
          </p:cNvCxnSpPr>
          <p:nvPr/>
        </p:nvCxnSpPr>
        <p:spPr>
          <a:xfrm flipV="1">
            <a:off x="2357430" y="3224809"/>
            <a:ext cx="279482" cy="76377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2204864" y="4232920"/>
            <a:ext cx="504056" cy="72008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rot="16200000" flipH="1">
            <a:off x="3889356" y="3484530"/>
            <a:ext cx="656056" cy="28062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H="1" flipV="1">
            <a:off x="4149080" y="4304928"/>
            <a:ext cx="504056" cy="79208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23" descr="http://www.saratovmer.ru/files/data/images/NEWS/2018/3147746dd9635b3444e7565294fd95c6.jp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3AEE1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0" y="8481392"/>
            <a:ext cx="6858000" cy="1700808"/>
          </a:xfrm>
          <a:prstGeom prst="rect">
            <a:avLst/>
          </a:prstGeom>
          <a:noFill/>
        </p:spPr>
      </p:pic>
      <p:sp>
        <p:nvSpPr>
          <p:cNvPr id="46" name="Скругленный прямоугольник 45"/>
          <p:cNvSpPr/>
          <p:nvPr>
            <p:custDataLst>
              <p:tags r:id="rId7"/>
            </p:custDataLst>
          </p:nvPr>
        </p:nvSpPr>
        <p:spPr>
          <a:xfrm>
            <a:off x="2348880" y="2144689"/>
            <a:ext cx="2039179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>
            <p:custDataLst>
              <p:tags r:id="rId8"/>
            </p:custDataLst>
          </p:nvPr>
        </p:nvSpPr>
        <p:spPr>
          <a:xfrm>
            <a:off x="357167" y="7239016"/>
            <a:ext cx="2286015" cy="120519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>
            <p:custDataLst>
              <p:tags r:id="rId9"/>
            </p:custDataLst>
          </p:nvPr>
        </p:nvSpPr>
        <p:spPr>
          <a:xfrm>
            <a:off x="4143380" y="7185248"/>
            <a:ext cx="2428892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>
            <p:custDataLst>
              <p:tags r:id="rId10"/>
            </p:custDataLst>
          </p:nvPr>
        </p:nvSpPr>
        <p:spPr>
          <a:xfrm>
            <a:off x="2564904" y="2720753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00,4</a:t>
            </a:r>
            <a:endParaRPr lang="ru-RU" b="1" dirty="0"/>
          </a:p>
        </p:txBody>
      </p:sp>
      <p:sp>
        <p:nvSpPr>
          <p:cNvPr id="50" name="Скругленный прямоугольник 49"/>
          <p:cNvSpPr/>
          <p:nvPr>
            <p:custDataLst>
              <p:tags r:id="rId11"/>
            </p:custDataLst>
          </p:nvPr>
        </p:nvSpPr>
        <p:spPr>
          <a:xfrm>
            <a:off x="642918" y="7953396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/>
              <a:t>0</a:t>
            </a:r>
            <a:r>
              <a:rPr lang="ru-RU" b="1" dirty="0" smtClean="0"/>
              <a:t>,8</a:t>
            </a:r>
            <a:endParaRPr lang="ru-RU" b="1" dirty="0"/>
          </a:p>
        </p:txBody>
      </p:sp>
      <p:sp>
        <p:nvSpPr>
          <p:cNvPr id="51" name="Скругленный прямоугольник 50"/>
          <p:cNvSpPr/>
          <p:nvPr>
            <p:custDataLst>
              <p:tags r:id="rId12"/>
            </p:custDataLst>
          </p:nvPr>
        </p:nvSpPr>
        <p:spPr>
          <a:xfrm>
            <a:off x="4509120" y="7977336"/>
            <a:ext cx="187220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/>
              <a:t>11</a:t>
            </a:r>
            <a:r>
              <a:rPr lang="ru-RU" b="1" dirty="0" smtClean="0"/>
              <a:t>,</a:t>
            </a:r>
            <a:r>
              <a:rPr lang="en-US" b="1" dirty="0" smtClean="0"/>
              <a:t>6</a:t>
            </a:r>
            <a:endParaRPr lang="ru-RU" b="1" dirty="0"/>
          </a:p>
        </p:txBody>
      </p:sp>
      <p:sp>
        <p:nvSpPr>
          <p:cNvPr id="52" name="Прямоугольник 51"/>
          <p:cNvSpPr/>
          <p:nvPr>
            <p:custDataLst>
              <p:tags r:id="rId13"/>
            </p:custDataLst>
          </p:nvPr>
        </p:nvSpPr>
        <p:spPr>
          <a:xfrm>
            <a:off x="2204864" y="2144688"/>
            <a:ext cx="230425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азвитие курортной инфраструктуры</a:t>
            </a:r>
            <a:endParaRPr lang="ru-RU" sz="1500" b="1" dirty="0"/>
          </a:p>
        </p:txBody>
      </p:sp>
      <p:sp>
        <p:nvSpPr>
          <p:cNvPr id="53" name="Прямоугольник 52"/>
          <p:cNvSpPr/>
          <p:nvPr>
            <p:custDataLst>
              <p:tags r:id="rId14"/>
            </p:custDataLst>
          </p:nvPr>
        </p:nvSpPr>
        <p:spPr>
          <a:xfrm>
            <a:off x="142852" y="7524768"/>
            <a:ext cx="2736304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рочие мероприятия</a:t>
            </a:r>
            <a:endParaRPr lang="ru-RU" sz="1500" b="1" dirty="0"/>
          </a:p>
        </p:txBody>
      </p:sp>
      <p:sp>
        <p:nvSpPr>
          <p:cNvPr id="54" name="Прямоугольник 53"/>
          <p:cNvSpPr/>
          <p:nvPr>
            <p:custDataLst>
              <p:tags r:id="rId15"/>
            </p:custDataLst>
          </p:nvPr>
        </p:nvSpPr>
        <p:spPr>
          <a:xfrm>
            <a:off x="4000504" y="7329264"/>
            <a:ext cx="264320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озеленение города и курортной зоны</a:t>
            </a:r>
            <a:endParaRPr lang="ru-RU" sz="1500" b="1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V="1">
            <a:off x="1988840" y="4376936"/>
            <a:ext cx="864096" cy="273630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 flipV="1">
            <a:off x="4005064" y="4376936"/>
            <a:ext cx="1008112" cy="273630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4857760" y="4953000"/>
            <a:ext cx="165618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Цифровые технологии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«Умный город»</a:t>
            </a:r>
            <a:endParaRPr lang="ru-RU" sz="1500" b="1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0" y="0"/>
            <a:ext cx="6858000" cy="132343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endParaRPr lang="ru-RU" altLang="ru-RU" sz="1400" b="1" dirty="0" smtClean="0">
              <a:latin typeface="Arial Black" pitchFamily="34" charset="0"/>
            </a:endParaRPr>
          </a:p>
          <a:p>
            <a:pPr algn="ctr">
              <a:lnSpc>
                <a:spcPct val="80000"/>
              </a:lnSpc>
              <a:defRPr/>
            </a:pPr>
            <a:r>
              <a:rPr lang="ru-RU" altLang="ru-RU" sz="2400" b="1" dirty="0" smtClean="0">
                <a:cs typeface="Times New Roman" pitchFamily="18" charset="0"/>
              </a:rPr>
              <a:t>Благоустройство и содержание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sz="2400" b="1" dirty="0" smtClean="0">
                <a:cs typeface="Times New Roman" pitchFamily="18" charset="0"/>
              </a:rPr>
              <a:t>города-курорта Железноводска 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sz="2400" b="1" dirty="0" smtClean="0">
                <a:cs typeface="Times New Roman" pitchFamily="18" charset="0"/>
              </a:rPr>
              <a:t>на 2024 год</a:t>
            </a:r>
          </a:p>
          <a:p>
            <a:pPr algn="ctr">
              <a:lnSpc>
                <a:spcPct val="80000"/>
              </a:lnSpc>
              <a:defRPr/>
            </a:pPr>
            <a:endParaRPr lang="ru-RU" altLang="ru-RU" sz="1400" b="1" dirty="0"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ZhSuNA\Pictures\0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3167050"/>
            <a:ext cx="2286000" cy="2941650"/>
          </a:xfrm>
          <a:prstGeom prst="rect">
            <a:avLst/>
          </a:prstGeom>
          <a:noFill/>
        </p:spPr>
      </p:pic>
      <p:pic>
        <p:nvPicPr>
          <p:cNvPr id="6147" name="Picture 3" descr="C:\Users\ZhSuNA\Pictures\Bezymyannyyeeeen6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74132" y="1797756"/>
            <a:ext cx="4131592" cy="5796844"/>
          </a:xfrm>
          <a:prstGeom prst="rect">
            <a:avLst/>
          </a:prstGeom>
          <a:noFill/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3602421" y="3658768"/>
            <a:ext cx="11824" cy="236074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5671645" y="3514543"/>
            <a:ext cx="31531" cy="244424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182414" y="3567678"/>
            <a:ext cx="31531" cy="244424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Скругленный прямоугольник 6"/>
          <p:cNvSpPr/>
          <p:nvPr/>
        </p:nvSpPr>
        <p:spPr>
          <a:xfrm>
            <a:off x="5715016" y="6738950"/>
            <a:ext cx="983411" cy="834843"/>
          </a:xfrm>
          <a:prstGeom prst="roundRect">
            <a:avLst>
              <a:gd name="adj" fmla="val 31566"/>
            </a:avLst>
          </a:prstGeom>
          <a:solidFill>
            <a:srgbClr val="CC53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37,8</a:t>
            </a:r>
            <a:endParaRPr lang="ru-RU" b="1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423358" y="5021532"/>
            <a:ext cx="895362" cy="809925"/>
          </a:xfrm>
          <a:prstGeom prst="roundRect">
            <a:avLst>
              <a:gd name="adj" fmla="val 31566"/>
            </a:avLst>
          </a:prstGeom>
          <a:solidFill>
            <a:srgbClr val="CC53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,6</a:t>
            </a:r>
            <a:endParaRPr lang="ru-RU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1"/>
            </p:custDataLst>
          </p:nvPr>
        </p:nvSpPr>
        <p:spPr>
          <a:xfrm>
            <a:off x="0" y="6238884"/>
            <a:ext cx="2428869" cy="1500198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Приобретение </a:t>
            </a: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жилого помещения в муниципальную собственность</a:t>
            </a:r>
            <a:endParaRPr lang="ru-RU" sz="16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>
            <p:custDataLst>
              <p:tags r:id="rId2"/>
            </p:custDataLst>
          </p:nvPr>
        </p:nvSpPr>
        <p:spPr>
          <a:xfrm>
            <a:off x="2714620" y="7667644"/>
            <a:ext cx="3857652" cy="2002805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Строительство новой муниципальной общеобразовательной школы в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жилом районе Капельница</a:t>
            </a:r>
            <a:endParaRPr lang="ru-RU" sz="12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15" name="object 1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57166" y="1166786"/>
            <a:ext cx="770742" cy="673776"/>
          </a:xfrm>
          <a:prstGeom prst="rect">
            <a:avLst/>
          </a:prstGeom>
          <a:solidFill>
            <a:srgbClr val="4F9B43"/>
          </a:solidFill>
        </p:spPr>
      </p:pic>
      <p:sp>
        <p:nvSpPr>
          <p:cNvPr id="14" name="Прямоугольник 13"/>
          <p:cNvSpPr/>
          <p:nvPr/>
        </p:nvSpPr>
        <p:spPr>
          <a:xfrm>
            <a:off x="0" y="0"/>
            <a:ext cx="6858000" cy="61363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endParaRPr lang="ru-RU" altLang="ru-RU" sz="1400" b="1" dirty="0" smtClean="0">
              <a:latin typeface="Arial Black" pitchFamily="34" charset="0"/>
            </a:endParaRPr>
          </a:p>
          <a:p>
            <a:pPr algn="ctr">
              <a:lnSpc>
                <a:spcPct val="80000"/>
              </a:lnSpc>
              <a:defRPr/>
            </a:pPr>
            <a:r>
              <a:rPr lang="ru-RU" altLang="ru-RU" sz="1400" b="1" dirty="0" smtClean="0">
                <a:latin typeface="Arial Black" pitchFamily="34" charset="0"/>
              </a:rPr>
              <a:t>Бюджетные инвестиции на 2024 год</a:t>
            </a:r>
          </a:p>
          <a:p>
            <a:pPr algn="ctr">
              <a:lnSpc>
                <a:spcPct val="80000"/>
              </a:lnSpc>
              <a:defRPr/>
            </a:pPr>
            <a:endParaRPr lang="ru-RU" altLang="ru-RU" sz="1400" b="1" dirty="0"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ZhSuNA\Pictures\97-978348_progressive-programs-family-house-icon-png.png"/>
          <p:cNvPicPr>
            <a:picLocks noChangeAspect="1" noChangeArrowheads="1"/>
          </p:cNvPicPr>
          <p:nvPr/>
        </p:nvPicPr>
        <p:blipFill>
          <a:blip r:embed="rId6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6858000" cy="9906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sp>
        <p:nvSpPr>
          <p:cNvPr id="76" name="Скругленный прямоугольник 75"/>
          <p:cNvSpPr/>
          <p:nvPr>
            <p:custDataLst>
              <p:tags r:id="rId1"/>
            </p:custDataLst>
          </p:nvPr>
        </p:nvSpPr>
        <p:spPr>
          <a:xfrm>
            <a:off x="5357826" y="4524372"/>
            <a:ext cx="1190297" cy="555848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1"/>
            <a:ext cx="6858000" cy="83548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endParaRPr lang="ru-RU" altLang="ru-RU" sz="1500" b="1" dirty="0" smtClean="0">
              <a:latin typeface="Arial Black" pitchFamily="34" charset="0"/>
            </a:endParaRP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Обеспечение жильем молодых семей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4" name="Скругленный прямоугольник 3"/>
          <p:cNvSpPr/>
          <p:nvPr>
            <p:custDataLst>
              <p:tags r:id="rId2"/>
            </p:custDataLst>
          </p:nvPr>
        </p:nvSpPr>
        <p:spPr>
          <a:xfrm>
            <a:off x="0" y="4524372"/>
            <a:ext cx="1308538" cy="485811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Скругленный прямоугольник 4"/>
          <p:cNvSpPr/>
          <p:nvPr>
            <p:custDataLst>
              <p:tags r:id="rId3"/>
            </p:custDataLst>
          </p:nvPr>
        </p:nvSpPr>
        <p:spPr>
          <a:xfrm>
            <a:off x="214290" y="952472"/>
            <a:ext cx="1026114" cy="602785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1 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Скругленный прямоугольник 5"/>
          <p:cNvSpPr/>
          <p:nvPr>
            <p:custDataLst>
              <p:tags r:id="rId4"/>
            </p:custDataLst>
          </p:nvPr>
        </p:nvSpPr>
        <p:spPr>
          <a:xfrm>
            <a:off x="214290" y="2024042"/>
            <a:ext cx="1143008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ьи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5"/>
            </p:custDataLst>
          </p:nvPr>
        </p:nvSpPr>
        <p:spPr>
          <a:xfrm>
            <a:off x="357166" y="3095612"/>
            <a:ext cx="702078" cy="624069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7</a:t>
            </a:r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1857364" y="952472"/>
            <a:ext cx="1080120" cy="62406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2 </a:t>
            </a:r>
          </a:p>
        </p:txBody>
      </p:sp>
      <p:sp>
        <p:nvSpPr>
          <p:cNvPr id="12" name="Скругленный прямоугольник 11"/>
          <p:cNvSpPr/>
          <p:nvPr>
            <p:custDataLst>
              <p:tags r:id="rId7"/>
            </p:custDataLst>
          </p:nvPr>
        </p:nvSpPr>
        <p:spPr>
          <a:xfrm>
            <a:off x="1785926" y="2024042"/>
            <a:ext cx="1214446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67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>
            <p:custDataLst>
              <p:tags r:id="rId8"/>
            </p:custDataLst>
          </p:nvPr>
        </p:nvCxnSpPr>
        <p:spPr>
          <a:xfrm>
            <a:off x="5937350" y="3866980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>
            <p:custDataLst>
              <p:tags r:id="rId9"/>
            </p:custDataLst>
          </p:nvPr>
        </p:nvCxnSpPr>
        <p:spPr>
          <a:xfrm>
            <a:off x="2372805" y="3897344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63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65538" y="5011110"/>
            <a:ext cx="408338" cy="743079"/>
          </a:xfrm>
          <a:prstGeom prst="rect">
            <a:avLst/>
          </a:prstGeom>
          <a:noFill/>
        </p:spPr>
      </p:pic>
      <p:pic>
        <p:nvPicPr>
          <p:cNvPr id="16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23773" y="5026291"/>
            <a:ext cx="419229" cy="728081"/>
          </a:xfrm>
          <a:prstGeom prst="rect">
            <a:avLst/>
          </a:prstGeom>
          <a:noFill/>
        </p:spPr>
      </p:pic>
      <p:grpSp>
        <p:nvGrpSpPr>
          <p:cNvPr id="7" name="Группа 46"/>
          <p:cNvGrpSpPr/>
          <p:nvPr>
            <p:custDataLst>
              <p:tags r:id="rId12"/>
            </p:custDataLst>
          </p:nvPr>
        </p:nvGrpSpPr>
        <p:grpSpPr>
          <a:xfrm>
            <a:off x="0" y="5881692"/>
            <a:ext cx="701565" cy="615452"/>
            <a:chOff x="875117" y="6121521"/>
            <a:chExt cx="1447857" cy="368919"/>
          </a:xfrm>
        </p:grpSpPr>
        <p:sp>
          <p:nvSpPr>
            <p:cNvPr id="19" name="Овал 18"/>
            <p:cNvSpPr/>
            <p:nvPr>
              <p:custDataLst>
                <p:tags r:id="rId59"/>
              </p:custDataLst>
            </p:nvPr>
          </p:nvSpPr>
          <p:spPr>
            <a:xfrm flipH="1">
              <a:off x="1425854" y="6121521"/>
              <a:ext cx="628650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0" name="TextBox 19"/>
            <p:cNvSpPr txBox="1"/>
            <p:nvPr>
              <p:custDataLst>
                <p:tags r:id="rId60"/>
              </p:custDataLst>
            </p:nvPr>
          </p:nvSpPr>
          <p:spPr>
            <a:xfrm>
              <a:off x="875117" y="6228734"/>
              <a:ext cx="1447857" cy="26170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бюджет города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9" name="Группа 52"/>
          <p:cNvGrpSpPr/>
          <p:nvPr>
            <p:custDataLst>
              <p:tags r:id="rId13"/>
            </p:custDataLst>
          </p:nvPr>
        </p:nvGrpSpPr>
        <p:grpSpPr>
          <a:xfrm>
            <a:off x="785794" y="5881694"/>
            <a:ext cx="654270" cy="705136"/>
            <a:chOff x="1231301" y="6005981"/>
            <a:chExt cx="2049056" cy="339631"/>
          </a:xfrm>
        </p:grpSpPr>
        <p:sp>
          <p:nvSpPr>
            <p:cNvPr id="22" name="Овал 21"/>
            <p:cNvSpPr/>
            <p:nvPr>
              <p:custDataLst>
                <p:tags r:id="rId57"/>
              </p:custDataLst>
            </p:nvPr>
          </p:nvSpPr>
          <p:spPr>
            <a:xfrm>
              <a:off x="1658763" y="6005981"/>
              <a:ext cx="914924" cy="122207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3" name="TextBox 22"/>
            <p:cNvSpPr txBox="1"/>
            <p:nvPr>
              <p:custDataLst>
                <p:tags r:id="rId58"/>
              </p:custDataLst>
            </p:nvPr>
          </p:nvSpPr>
          <p:spPr>
            <a:xfrm>
              <a:off x="1231301" y="6128191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4" name="Скругленный прямоугольник 23"/>
          <p:cNvSpPr/>
          <p:nvPr>
            <p:custDataLst>
              <p:tags r:id="rId14"/>
            </p:custDataLst>
          </p:nvPr>
        </p:nvSpPr>
        <p:spPr>
          <a:xfrm>
            <a:off x="3500438" y="4524372"/>
            <a:ext cx="1190297" cy="563440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Скругленный прямоугольник 24"/>
          <p:cNvSpPr/>
          <p:nvPr>
            <p:custDataLst>
              <p:tags r:id="rId15"/>
            </p:custDataLst>
          </p:nvPr>
        </p:nvSpPr>
        <p:spPr>
          <a:xfrm>
            <a:off x="2000240" y="3095612"/>
            <a:ext cx="702078" cy="624069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52,3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16"/>
            </p:custDataLst>
          </p:nvPr>
        </p:nvSpPr>
        <p:spPr>
          <a:xfrm>
            <a:off x="3500438" y="952472"/>
            <a:ext cx="1080120" cy="62406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3 </a:t>
            </a:r>
          </a:p>
        </p:txBody>
      </p:sp>
      <p:sp>
        <p:nvSpPr>
          <p:cNvPr id="36" name="Скругленный прямоугольник 35"/>
          <p:cNvSpPr/>
          <p:nvPr>
            <p:custDataLst>
              <p:tags r:id="rId17"/>
            </p:custDataLst>
          </p:nvPr>
        </p:nvSpPr>
        <p:spPr>
          <a:xfrm>
            <a:off x="3428999" y="2024042"/>
            <a:ext cx="1285885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Скругленный прямоугольник 36"/>
          <p:cNvSpPr/>
          <p:nvPr>
            <p:custDataLst>
              <p:tags r:id="rId18"/>
            </p:custDataLst>
          </p:nvPr>
        </p:nvSpPr>
        <p:spPr>
          <a:xfrm>
            <a:off x="3786190" y="3095612"/>
            <a:ext cx="702078" cy="624069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8,1</a:t>
            </a:r>
          </a:p>
        </p:txBody>
      </p:sp>
      <p:sp>
        <p:nvSpPr>
          <p:cNvPr id="38" name="Скругленный прямоугольник 37"/>
          <p:cNvSpPr/>
          <p:nvPr>
            <p:custDataLst>
              <p:tags r:id="rId19"/>
            </p:custDataLst>
          </p:nvPr>
        </p:nvSpPr>
        <p:spPr>
          <a:xfrm>
            <a:off x="1785926" y="4524372"/>
            <a:ext cx="1198179" cy="471643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6" name="Прямая соединительная линия 55"/>
          <p:cNvCxnSpPr/>
          <p:nvPr>
            <p:custDataLst>
              <p:tags r:id="rId20"/>
            </p:custDataLst>
          </p:nvPr>
        </p:nvCxnSpPr>
        <p:spPr>
          <a:xfrm>
            <a:off x="642539" y="3920117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Скругленный прямоугольник 57"/>
          <p:cNvSpPr/>
          <p:nvPr>
            <p:custDataLst>
              <p:tags r:id="rId21"/>
            </p:custDataLst>
          </p:nvPr>
        </p:nvSpPr>
        <p:spPr>
          <a:xfrm>
            <a:off x="785794" y="4667248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2</a:t>
            </a:r>
          </a:p>
        </p:txBody>
      </p:sp>
      <p:sp>
        <p:nvSpPr>
          <p:cNvPr id="59" name="Скругленный прямоугольник 58"/>
          <p:cNvSpPr/>
          <p:nvPr>
            <p:custDataLst>
              <p:tags r:id="rId22"/>
            </p:custDataLst>
          </p:nvPr>
        </p:nvSpPr>
        <p:spPr>
          <a:xfrm>
            <a:off x="4286256" y="4595810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7,7</a:t>
            </a:r>
          </a:p>
        </p:txBody>
      </p:sp>
      <p:sp>
        <p:nvSpPr>
          <p:cNvPr id="60" name="Скругленный прямоугольник 59"/>
          <p:cNvSpPr/>
          <p:nvPr>
            <p:custDataLst>
              <p:tags r:id="rId23"/>
            </p:custDataLst>
          </p:nvPr>
        </p:nvSpPr>
        <p:spPr>
          <a:xfrm>
            <a:off x="2428868" y="4595810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9,7</a:t>
            </a:r>
          </a:p>
        </p:txBody>
      </p:sp>
      <p:sp>
        <p:nvSpPr>
          <p:cNvPr id="61" name="Скругленный прямоугольник 60"/>
          <p:cNvSpPr/>
          <p:nvPr>
            <p:custDataLst>
              <p:tags r:id="rId24"/>
            </p:custDataLst>
          </p:nvPr>
        </p:nvSpPr>
        <p:spPr>
          <a:xfrm>
            <a:off x="6215082" y="4667248"/>
            <a:ext cx="525316" cy="413423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8,5</a:t>
            </a:r>
          </a:p>
        </p:txBody>
      </p:sp>
      <p:sp>
        <p:nvSpPr>
          <p:cNvPr id="62" name="Скругленный прямоугольник 61"/>
          <p:cNvSpPr/>
          <p:nvPr>
            <p:custDataLst>
              <p:tags r:id="rId25"/>
            </p:custDataLst>
          </p:nvPr>
        </p:nvSpPr>
        <p:spPr>
          <a:xfrm>
            <a:off x="5429264" y="4667248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0,4</a:t>
            </a:r>
          </a:p>
        </p:txBody>
      </p:sp>
      <p:sp>
        <p:nvSpPr>
          <p:cNvPr id="63" name="Скругленный прямоугольник 62"/>
          <p:cNvSpPr/>
          <p:nvPr>
            <p:custDataLst>
              <p:tags r:id="rId26"/>
            </p:custDataLst>
          </p:nvPr>
        </p:nvSpPr>
        <p:spPr>
          <a:xfrm>
            <a:off x="214290" y="4667248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0,5</a:t>
            </a:r>
          </a:p>
        </p:txBody>
      </p:sp>
      <p:sp>
        <p:nvSpPr>
          <p:cNvPr id="64" name="Скругленный прямоугольник 63"/>
          <p:cNvSpPr/>
          <p:nvPr>
            <p:custDataLst>
              <p:tags r:id="rId27"/>
            </p:custDataLst>
          </p:nvPr>
        </p:nvSpPr>
        <p:spPr>
          <a:xfrm>
            <a:off x="1857364" y="4595810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2,6</a:t>
            </a:r>
          </a:p>
        </p:txBody>
      </p:sp>
      <p:sp>
        <p:nvSpPr>
          <p:cNvPr id="65" name="Скругленный прямоугольник 64"/>
          <p:cNvSpPr/>
          <p:nvPr>
            <p:custDataLst>
              <p:tags r:id="rId28"/>
            </p:custDataLst>
          </p:nvPr>
        </p:nvSpPr>
        <p:spPr>
          <a:xfrm>
            <a:off x="3500438" y="4595810"/>
            <a:ext cx="525316" cy="413423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0,4</a:t>
            </a:r>
          </a:p>
        </p:txBody>
      </p:sp>
      <p:sp>
        <p:nvSpPr>
          <p:cNvPr id="66" name="Скругленный прямоугольник 65"/>
          <p:cNvSpPr/>
          <p:nvPr>
            <p:custDataLst>
              <p:tags r:id="rId29"/>
            </p:custDataLst>
          </p:nvPr>
        </p:nvSpPr>
        <p:spPr>
          <a:xfrm>
            <a:off x="5286388" y="952472"/>
            <a:ext cx="1080120" cy="62406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4 </a:t>
            </a:r>
          </a:p>
        </p:txBody>
      </p:sp>
      <p:sp>
        <p:nvSpPr>
          <p:cNvPr id="67" name="Скругленный прямоугольник 66"/>
          <p:cNvSpPr/>
          <p:nvPr>
            <p:custDataLst>
              <p:tags r:id="rId30"/>
            </p:custDataLst>
          </p:nvPr>
        </p:nvSpPr>
        <p:spPr>
          <a:xfrm>
            <a:off x="5214951" y="2024042"/>
            <a:ext cx="1357322" cy="520000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>
            <p:custDataLst>
              <p:tags r:id="rId31"/>
            </p:custDataLst>
          </p:nvPr>
        </p:nvCxnSpPr>
        <p:spPr>
          <a:xfrm>
            <a:off x="4221312" y="3844210"/>
            <a:ext cx="0" cy="220367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Скругленный прямоугольник 68"/>
          <p:cNvSpPr/>
          <p:nvPr>
            <p:custDataLst>
              <p:tags r:id="rId32"/>
            </p:custDataLst>
          </p:nvPr>
        </p:nvSpPr>
        <p:spPr>
          <a:xfrm>
            <a:off x="5572140" y="3095612"/>
            <a:ext cx="702078" cy="582741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8,9</a:t>
            </a:r>
          </a:p>
        </p:txBody>
      </p:sp>
      <p:pic>
        <p:nvPicPr>
          <p:cNvPr id="70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785926" y="5024438"/>
            <a:ext cx="419229" cy="728081"/>
          </a:xfrm>
          <a:prstGeom prst="rect">
            <a:avLst/>
          </a:prstGeom>
          <a:noFill/>
        </p:spPr>
      </p:pic>
      <p:pic>
        <p:nvPicPr>
          <p:cNvPr id="7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477687" y="5018699"/>
            <a:ext cx="419229" cy="728081"/>
          </a:xfrm>
          <a:prstGeom prst="rect">
            <a:avLst/>
          </a:prstGeom>
          <a:noFill/>
        </p:spPr>
      </p:pic>
      <p:pic>
        <p:nvPicPr>
          <p:cNvPr id="72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500438" y="5024438"/>
            <a:ext cx="419229" cy="728081"/>
          </a:xfrm>
          <a:prstGeom prst="rect">
            <a:avLst/>
          </a:prstGeom>
          <a:noFill/>
        </p:spPr>
      </p:pic>
      <p:pic>
        <p:nvPicPr>
          <p:cNvPr id="73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57694" y="4953000"/>
            <a:ext cx="419229" cy="728081"/>
          </a:xfrm>
          <a:prstGeom prst="rect">
            <a:avLst/>
          </a:prstGeom>
          <a:noFill/>
        </p:spPr>
      </p:pic>
      <p:pic>
        <p:nvPicPr>
          <p:cNvPr id="74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473133" y="4942792"/>
            <a:ext cx="419229" cy="728081"/>
          </a:xfrm>
          <a:prstGeom prst="rect">
            <a:avLst/>
          </a:prstGeom>
          <a:noFill/>
        </p:spPr>
      </p:pic>
      <p:pic>
        <p:nvPicPr>
          <p:cNvPr id="75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15082" y="4953000"/>
            <a:ext cx="419229" cy="728081"/>
          </a:xfrm>
          <a:prstGeom prst="rect">
            <a:avLst/>
          </a:prstGeom>
          <a:noFill/>
        </p:spPr>
      </p:pic>
      <p:grpSp>
        <p:nvGrpSpPr>
          <p:cNvPr id="10" name="Группа 46"/>
          <p:cNvGrpSpPr/>
          <p:nvPr>
            <p:custDataLst>
              <p:tags r:id="rId39"/>
            </p:custDataLst>
          </p:nvPr>
        </p:nvGrpSpPr>
        <p:grpSpPr>
          <a:xfrm>
            <a:off x="1571612" y="5810257"/>
            <a:ext cx="701565" cy="793787"/>
            <a:chOff x="727686" y="6121521"/>
            <a:chExt cx="1447857" cy="475818"/>
          </a:xfrm>
        </p:grpSpPr>
        <p:sp>
          <p:nvSpPr>
            <p:cNvPr id="78" name="Овал 77"/>
            <p:cNvSpPr/>
            <p:nvPr>
              <p:custDataLst>
                <p:tags r:id="rId55"/>
              </p:custDataLst>
            </p:nvPr>
          </p:nvSpPr>
          <p:spPr>
            <a:xfrm flipH="1">
              <a:off x="1317406" y="6121521"/>
              <a:ext cx="671031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9" name="TextBox 78"/>
            <p:cNvSpPr txBox="1"/>
            <p:nvPr>
              <p:custDataLst>
                <p:tags r:id="rId56"/>
              </p:custDataLst>
            </p:nvPr>
          </p:nvSpPr>
          <p:spPr>
            <a:xfrm>
              <a:off x="727686" y="6335632"/>
              <a:ext cx="1447857" cy="2617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бюджет города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7" name="Группа 46"/>
          <p:cNvGrpSpPr/>
          <p:nvPr>
            <p:custDataLst>
              <p:tags r:id="rId40"/>
            </p:custDataLst>
          </p:nvPr>
        </p:nvGrpSpPr>
        <p:grpSpPr>
          <a:xfrm>
            <a:off x="3429000" y="5810255"/>
            <a:ext cx="701565" cy="722346"/>
            <a:chOff x="1022547" y="6121521"/>
            <a:chExt cx="1447857" cy="432994"/>
          </a:xfrm>
        </p:grpSpPr>
        <p:sp>
          <p:nvSpPr>
            <p:cNvPr id="81" name="Овал 80"/>
            <p:cNvSpPr/>
            <p:nvPr>
              <p:custDataLst>
                <p:tags r:id="rId53"/>
              </p:custDataLst>
            </p:nvPr>
          </p:nvSpPr>
          <p:spPr>
            <a:xfrm flipH="1">
              <a:off x="1425854" y="6121521"/>
              <a:ext cx="628706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2" name="TextBox 81"/>
            <p:cNvSpPr txBox="1"/>
            <p:nvPr>
              <p:custDataLst>
                <p:tags r:id="rId54"/>
              </p:custDataLst>
            </p:nvPr>
          </p:nvSpPr>
          <p:spPr>
            <a:xfrm>
              <a:off x="1022547" y="6292809"/>
              <a:ext cx="1447857" cy="26170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бюджет города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" name="Группа 46"/>
          <p:cNvGrpSpPr/>
          <p:nvPr>
            <p:custDataLst>
              <p:tags r:id="rId41"/>
            </p:custDataLst>
          </p:nvPr>
        </p:nvGrpSpPr>
        <p:grpSpPr>
          <a:xfrm>
            <a:off x="5429264" y="5881693"/>
            <a:ext cx="701565" cy="794990"/>
            <a:chOff x="875117" y="6121521"/>
            <a:chExt cx="1447857" cy="476539"/>
          </a:xfrm>
        </p:grpSpPr>
        <p:sp>
          <p:nvSpPr>
            <p:cNvPr id="84" name="Овал 83"/>
            <p:cNvSpPr/>
            <p:nvPr>
              <p:custDataLst>
                <p:tags r:id="rId51"/>
              </p:custDataLst>
            </p:nvPr>
          </p:nvSpPr>
          <p:spPr>
            <a:xfrm flipH="1">
              <a:off x="1425856" y="6121521"/>
              <a:ext cx="605344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5" name="TextBox 84"/>
            <p:cNvSpPr txBox="1"/>
            <p:nvPr>
              <p:custDataLst>
                <p:tags r:id="rId52"/>
              </p:custDataLst>
            </p:nvPr>
          </p:nvSpPr>
          <p:spPr>
            <a:xfrm>
              <a:off x="875117" y="6228734"/>
              <a:ext cx="1447857" cy="3693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бюджет города</a:t>
              </a:r>
            </a:p>
            <a:p>
              <a:pPr algn="ctr">
                <a:lnSpc>
                  <a:spcPts val="1400"/>
                </a:lnSpc>
                <a:defRPr/>
              </a:pP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" name="Группа 52"/>
          <p:cNvGrpSpPr/>
          <p:nvPr>
            <p:custDataLst>
              <p:tags r:id="rId42"/>
            </p:custDataLst>
          </p:nvPr>
        </p:nvGrpSpPr>
        <p:grpSpPr>
          <a:xfrm>
            <a:off x="2428868" y="5810257"/>
            <a:ext cx="654270" cy="808596"/>
            <a:chOff x="1155733" y="6005984"/>
            <a:chExt cx="2049056" cy="389463"/>
          </a:xfrm>
        </p:grpSpPr>
        <p:sp>
          <p:nvSpPr>
            <p:cNvPr id="87" name="Овал 86"/>
            <p:cNvSpPr/>
            <p:nvPr>
              <p:custDataLst>
                <p:tags r:id="rId49"/>
              </p:custDataLst>
            </p:nvPr>
          </p:nvSpPr>
          <p:spPr>
            <a:xfrm>
              <a:off x="1658760" y="6005984"/>
              <a:ext cx="839356" cy="118552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8" name="TextBox 87"/>
            <p:cNvSpPr txBox="1"/>
            <p:nvPr>
              <p:custDataLst>
                <p:tags r:id="rId50"/>
              </p:custDataLst>
            </p:nvPr>
          </p:nvSpPr>
          <p:spPr>
            <a:xfrm>
              <a:off x="1155733" y="6178026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6" name="Группа 52"/>
          <p:cNvGrpSpPr/>
          <p:nvPr>
            <p:custDataLst>
              <p:tags r:id="rId43"/>
            </p:custDataLst>
          </p:nvPr>
        </p:nvGrpSpPr>
        <p:grpSpPr>
          <a:xfrm>
            <a:off x="4357694" y="5810256"/>
            <a:ext cx="654270" cy="768976"/>
            <a:chOff x="1121828" y="6005986"/>
            <a:chExt cx="2049056" cy="370380"/>
          </a:xfrm>
        </p:grpSpPr>
        <p:sp>
          <p:nvSpPr>
            <p:cNvPr id="90" name="Овал 89"/>
            <p:cNvSpPr/>
            <p:nvPr>
              <p:custDataLst>
                <p:tags r:id="rId47"/>
              </p:custDataLst>
            </p:nvPr>
          </p:nvSpPr>
          <p:spPr>
            <a:xfrm>
              <a:off x="1658760" y="6005986"/>
              <a:ext cx="1029185" cy="152961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91" name="TextBox 90"/>
            <p:cNvSpPr txBox="1"/>
            <p:nvPr>
              <p:custDataLst>
                <p:tags r:id="rId48"/>
              </p:custDataLst>
            </p:nvPr>
          </p:nvSpPr>
          <p:spPr>
            <a:xfrm>
              <a:off x="1121828" y="6158945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7" name="Группа 52"/>
          <p:cNvGrpSpPr/>
          <p:nvPr>
            <p:custDataLst>
              <p:tags r:id="rId44"/>
            </p:custDataLst>
          </p:nvPr>
        </p:nvGrpSpPr>
        <p:grpSpPr>
          <a:xfrm>
            <a:off x="6203730" y="5881694"/>
            <a:ext cx="654270" cy="737152"/>
            <a:chOff x="885789" y="6028627"/>
            <a:chExt cx="2049056" cy="355052"/>
          </a:xfrm>
        </p:grpSpPr>
        <p:sp>
          <p:nvSpPr>
            <p:cNvPr id="93" name="Овал 92"/>
            <p:cNvSpPr/>
            <p:nvPr>
              <p:custDataLst>
                <p:tags r:id="rId45"/>
              </p:custDataLst>
            </p:nvPr>
          </p:nvSpPr>
          <p:spPr>
            <a:xfrm>
              <a:off x="1333251" y="6028627"/>
              <a:ext cx="894924" cy="137634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angle"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94" name="TextBox 93"/>
            <p:cNvSpPr txBox="1"/>
            <p:nvPr>
              <p:custDataLst>
                <p:tags r:id="rId46"/>
              </p:custDataLst>
            </p:nvPr>
          </p:nvSpPr>
          <p:spPr>
            <a:xfrm>
              <a:off x="885789" y="6166258"/>
              <a:ext cx="2049056" cy="2174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8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65" cstate="print"/>
          <a:srcRect/>
          <a:stretch>
            <a:fillRect/>
          </a:stretch>
        </p:blipFill>
        <p:spPr bwMode="auto">
          <a:xfrm>
            <a:off x="3214686" y="8453462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3017909176"/>
              </p:ext>
            </p:extLst>
          </p:nvPr>
        </p:nvGraphicFramePr>
        <p:xfrm>
          <a:off x="0" y="595282"/>
          <a:ext cx="6858000" cy="9310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8" name="object 41"/>
          <p:cNvSpPr/>
          <p:nvPr/>
        </p:nvSpPr>
        <p:spPr>
          <a:xfrm>
            <a:off x="3" y="1999550"/>
            <a:ext cx="2060639" cy="2908419"/>
          </a:xfrm>
          <a:custGeom>
            <a:avLst/>
            <a:gdLst/>
            <a:ahLst/>
            <a:cxnLst/>
            <a:rect l="l" t="t" r="r" b="b"/>
            <a:pathLst>
              <a:path w="826770" h="657225">
                <a:moveTo>
                  <a:pt x="281419" y="393776"/>
                </a:moveTo>
                <a:lnTo>
                  <a:pt x="279184" y="391490"/>
                </a:lnTo>
                <a:lnTo>
                  <a:pt x="279184" y="389204"/>
                </a:lnTo>
                <a:lnTo>
                  <a:pt x="274713" y="384619"/>
                </a:lnTo>
                <a:lnTo>
                  <a:pt x="272478" y="384619"/>
                </a:lnTo>
                <a:lnTo>
                  <a:pt x="272478" y="382333"/>
                </a:lnTo>
                <a:lnTo>
                  <a:pt x="268008" y="382333"/>
                </a:lnTo>
                <a:lnTo>
                  <a:pt x="265772" y="380047"/>
                </a:lnTo>
                <a:lnTo>
                  <a:pt x="263550" y="380047"/>
                </a:lnTo>
                <a:lnTo>
                  <a:pt x="261315" y="382333"/>
                </a:lnTo>
                <a:lnTo>
                  <a:pt x="256844" y="382333"/>
                </a:lnTo>
                <a:lnTo>
                  <a:pt x="254609" y="384619"/>
                </a:lnTo>
                <a:lnTo>
                  <a:pt x="252374" y="384619"/>
                </a:lnTo>
                <a:lnTo>
                  <a:pt x="252374" y="386905"/>
                </a:lnTo>
                <a:lnTo>
                  <a:pt x="250151" y="389204"/>
                </a:lnTo>
                <a:lnTo>
                  <a:pt x="250151" y="391490"/>
                </a:lnTo>
                <a:lnTo>
                  <a:pt x="247916" y="391490"/>
                </a:lnTo>
                <a:lnTo>
                  <a:pt x="247916" y="402945"/>
                </a:lnTo>
                <a:lnTo>
                  <a:pt x="250151" y="405231"/>
                </a:lnTo>
                <a:lnTo>
                  <a:pt x="250151" y="407517"/>
                </a:lnTo>
                <a:lnTo>
                  <a:pt x="252374" y="407517"/>
                </a:lnTo>
                <a:lnTo>
                  <a:pt x="252374" y="409803"/>
                </a:lnTo>
                <a:lnTo>
                  <a:pt x="254609" y="412089"/>
                </a:lnTo>
                <a:lnTo>
                  <a:pt x="256844" y="412089"/>
                </a:lnTo>
                <a:lnTo>
                  <a:pt x="259080" y="414388"/>
                </a:lnTo>
                <a:lnTo>
                  <a:pt x="270243" y="414388"/>
                </a:lnTo>
                <a:lnTo>
                  <a:pt x="272478" y="412089"/>
                </a:lnTo>
                <a:lnTo>
                  <a:pt x="274713" y="412089"/>
                </a:lnTo>
                <a:lnTo>
                  <a:pt x="274713" y="409803"/>
                </a:lnTo>
                <a:lnTo>
                  <a:pt x="276948" y="409803"/>
                </a:lnTo>
                <a:lnTo>
                  <a:pt x="276948" y="407517"/>
                </a:lnTo>
                <a:lnTo>
                  <a:pt x="279184" y="407517"/>
                </a:lnTo>
                <a:lnTo>
                  <a:pt x="279184" y="402945"/>
                </a:lnTo>
                <a:lnTo>
                  <a:pt x="281419" y="402945"/>
                </a:lnTo>
                <a:lnTo>
                  <a:pt x="281419" y="393776"/>
                </a:lnTo>
                <a:close/>
              </a:path>
              <a:path w="826770" h="657225">
                <a:moveTo>
                  <a:pt x="540486" y="611276"/>
                </a:moveTo>
                <a:lnTo>
                  <a:pt x="513181" y="566839"/>
                </a:lnTo>
                <a:lnTo>
                  <a:pt x="506996" y="565543"/>
                </a:lnTo>
                <a:lnTo>
                  <a:pt x="506996" y="604405"/>
                </a:lnTo>
                <a:lnTo>
                  <a:pt x="506996" y="625005"/>
                </a:lnTo>
                <a:lnTo>
                  <a:pt x="31267" y="625005"/>
                </a:lnTo>
                <a:lnTo>
                  <a:pt x="31267" y="604405"/>
                </a:lnTo>
                <a:lnTo>
                  <a:pt x="37960" y="597535"/>
                </a:lnTo>
                <a:lnTo>
                  <a:pt x="502526" y="597535"/>
                </a:lnTo>
                <a:lnTo>
                  <a:pt x="506996" y="604405"/>
                </a:lnTo>
                <a:lnTo>
                  <a:pt x="506996" y="565543"/>
                </a:lnTo>
                <a:lnTo>
                  <a:pt x="495833" y="563194"/>
                </a:lnTo>
                <a:lnTo>
                  <a:pt x="475729" y="563194"/>
                </a:lnTo>
                <a:lnTo>
                  <a:pt x="442226" y="456488"/>
                </a:lnTo>
                <a:lnTo>
                  <a:pt x="442226" y="563194"/>
                </a:lnTo>
                <a:lnTo>
                  <a:pt x="98272" y="563194"/>
                </a:lnTo>
                <a:lnTo>
                  <a:pt x="136232" y="444144"/>
                </a:lnTo>
                <a:lnTo>
                  <a:pt x="207187" y="426542"/>
                </a:lnTo>
                <a:lnTo>
                  <a:pt x="211899" y="422402"/>
                </a:lnTo>
                <a:lnTo>
                  <a:pt x="214515" y="416534"/>
                </a:lnTo>
                <a:lnTo>
                  <a:pt x="214414" y="409803"/>
                </a:lnTo>
                <a:lnTo>
                  <a:pt x="213385" y="407517"/>
                </a:lnTo>
                <a:lnTo>
                  <a:pt x="211582" y="403479"/>
                </a:lnTo>
                <a:lnTo>
                  <a:pt x="206870" y="398640"/>
                </a:lnTo>
                <a:lnTo>
                  <a:pt x="200901" y="395960"/>
                </a:lnTo>
                <a:lnTo>
                  <a:pt x="194310" y="396074"/>
                </a:lnTo>
                <a:lnTo>
                  <a:pt x="147408" y="407517"/>
                </a:lnTo>
                <a:lnTo>
                  <a:pt x="160807" y="364020"/>
                </a:lnTo>
                <a:lnTo>
                  <a:pt x="176441" y="309092"/>
                </a:lnTo>
                <a:lnTo>
                  <a:pt x="340461" y="272427"/>
                </a:lnTo>
                <a:lnTo>
                  <a:pt x="350659" y="270154"/>
                </a:lnTo>
                <a:lnTo>
                  <a:pt x="377469" y="354863"/>
                </a:lnTo>
                <a:lnTo>
                  <a:pt x="317677" y="370179"/>
                </a:lnTo>
                <a:lnTo>
                  <a:pt x="312966" y="374319"/>
                </a:lnTo>
                <a:lnTo>
                  <a:pt x="310337" y="380187"/>
                </a:lnTo>
                <a:lnTo>
                  <a:pt x="310451" y="386905"/>
                </a:lnTo>
                <a:lnTo>
                  <a:pt x="313270" y="393242"/>
                </a:lnTo>
                <a:lnTo>
                  <a:pt x="317995" y="398068"/>
                </a:lnTo>
                <a:lnTo>
                  <a:pt x="323964" y="400761"/>
                </a:lnTo>
                <a:lnTo>
                  <a:pt x="330555" y="400646"/>
                </a:lnTo>
                <a:lnTo>
                  <a:pt x="386397" y="389204"/>
                </a:lnTo>
                <a:lnTo>
                  <a:pt x="442226" y="563194"/>
                </a:lnTo>
                <a:lnTo>
                  <a:pt x="442226" y="456488"/>
                </a:lnTo>
                <a:lnTo>
                  <a:pt x="421106" y="389204"/>
                </a:lnTo>
                <a:lnTo>
                  <a:pt x="413194" y="364020"/>
                </a:lnTo>
                <a:lnTo>
                  <a:pt x="386143" y="270154"/>
                </a:lnTo>
                <a:lnTo>
                  <a:pt x="384162" y="263283"/>
                </a:lnTo>
                <a:lnTo>
                  <a:pt x="339483" y="120396"/>
                </a:lnTo>
                <a:lnTo>
                  <a:pt x="339483" y="238086"/>
                </a:lnTo>
                <a:lnTo>
                  <a:pt x="187604" y="272427"/>
                </a:lnTo>
                <a:lnTo>
                  <a:pt x="243446" y="96151"/>
                </a:lnTo>
                <a:lnTo>
                  <a:pt x="245681" y="91592"/>
                </a:lnTo>
                <a:lnTo>
                  <a:pt x="250151" y="89281"/>
                </a:lnTo>
                <a:lnTo>
                  <a:pt x="290347" y="89281"/>
                </a:lnTo>
                <a:lnTo>
                  <a:pt x="294817" y="91592"/>
                </a:lnTo>
                <a:lnTo>
                  <a:pt x="297053" y="96151"/>
                </a:lnTo>
                <a:lnTo>
                  <a:pt x="339483" y="238086"/>
                </a:lnTo>
                <a:lnTo>
                  <a:pt x="339483" y="120396"/>
                </a:lnTo>
                <a:lnTo>
                  <a:pt x="321386" y="72339"/>
                </a:lnTo>
                <a:lnTo>
                  <a:pt x="285877" y="54965"/>
                </a:lnTo>
                <a:lnTo>
                  <a:pt x="254609" y="54965"/>
                </a:lnTo>
                <a:lnTo>
                  <a:pt x="218808" y="72339"/>
                </a:lnTo>
                <a:lnTo>
                  <a:pt x="127304" y="359435"/>
                </a:lnTo>
                <a:lnTo>
                  <a:pt x="107200" y="423545"/>
                </a:lnTo>
                <a:lnTo>
                  <a:pt x="62534" y="563194"/>
                </a:lnTo>
                <a:lnTo>
                  <a:pt x="44665" y="563194"/>
                </a:lnTo>
                <a:lnTo>
                  <a:pt x="27317" y="566839"/>
                </a:lnTo>
                <a:lnTo>
                  <a:pt x="13119" y="576935"/>
                </a:lnTo>
                <a:lnTo>
                  <a:pt x="3517" y="592162"/>
                </a:lnTo>
                <a:lnTo>
                  <a:pt x="0" y="611276"/>
                </a:lnTo>
                <a:lnTo>
                  <a:pt x="0" y="650189"/>
                </a:lnTo>
                <a:lnTo>
                  <a:pt x="6692" y="657059"/>
                </a:lnTo>
                <a:lnTo>
                  <a:pt x="533793" y="657059"/>
                </a:lnTo>
                <a:lnTo>
                  <a:pt x="540486" y="650189"/>
                </a:lnTo>
                <a:lnTo>
                  <a:pt x="540486" y="625005"/>
                </a:lnTo>
                <a:lnTo>
                  <a:pt x="540486" y="611276"/>
                </a:lnTo>
                <a:close/>
              </a:path>
              <a:path w="826770" h="657225">
                <a:moveTo>
                  <a:pt x="558647" y="99593"/>
                </a:moveTo>
                <a:lnTo>
                  <a:pt x="527100" y="52654"/>
                </a:lnTo>
                <a:lnTo>
                  <a:pt x="514819" y="47244"/>
                </a:lnTo>
                <a:lnTo>
                  <a:pt x="508254" y="47840"/>
                </a:lnTo>
                <a:lnTo>
                  <a:pt x="502526" y="50380"/>
                </a:lnTo>
                <a:lnTo>
                  <a:pt x="498729" y="55918"/>
                </a:lnTo>
                <a:lnTo>
                  <a:pt x="497230" y="62115"/>
                </a:lnTo>
                <a:lnTo>
                  <a:pt x="497827" y="68732"/>
                </a:lnTo>
                <a:lnTo>
                  <a:pt x="500303" y="75565"/>
                </a:lnTo>
                <a:lnTo>
                  <a:pt x="529336" y="109905"/>
                </a:lnTo>
                <a:lnTo>
                  <a:pt x="531558" y="114465"/>
                </a:lnTo>
                <a:lnTo>
                  <a:pt x="549440" y="114465"/>
                </a:lnTo>
                <a:lnTo>
                  <a:pt x="551675" y="112191"/>
                </a:lnTo>
                <a:lnTo>
                  <a:pt x="556729" y="106324"/>
                </a:lnTo>
                <a:lnTo>
                  <a:pt x="558647" y="99593"/>
                </a:lnTo>
                <a:close/>
              </a:path>
              <a:path w="826770" h="657225">
                <a:moveTo>
                  <a:pt x="678967" y="4597"/>
                </a:moveTo>
                <a:lnTo>
                  <a:pt x="670039" y="0"/>
                </a:lnTo>
                <a:lnTo>
                  <a:pt x="661123" y="0"/>
                </a:lnTo>
                <a:lnTo>
                  <a:pt x="652157" y="0"/>
                </a:lnTo>
                <a:lnTo>
                  <a:pt x="645464" y="4597"/>
                </a:lnTo>
                <a:lnTo>
                  <a:pt x="645464" y="77838"/>
                </a:lnTo>
                <a:lnTo>
                  <a:pt x="652157" y="86995"/>
                </a:lnTo>
                <a:lnTo>
                  <a:pt x="661123" y="86995"/>
                </a:lnTo>
                <a:lnTo>
                  <a:pt x="667677" y="85432"/>
                </a:lnTo>
                <a:lnTo>
                  <a:pt x="673392" y="81280"/>
                </a:lnTo>
                <a:lnTo>
                  <a:pt x="677430" y="75412"/>
                </a:lnTo>
                <a:lnTo>
                  <a:pt x="678967" y="68694"/>
                </a:lnTo>
                <a:lnTo>
                  <a:pt x="678967" y="4597"/>
                </a:lnTo>
                <a:close/>
              </a:path>
              <a:path w="826770" h="657225">
                <a:moveTo>
                  <a:pt x="766102" y="187744"/>
                </a:moveTo>
                <a:lnTo>
                  <a:pt x="763841" y="185432"/>
                </a:lnTo>
                <a:lnTo>
                  <a:pt x="763841" y="183159"/>
                </a:lnTo>
                <a:lnTo>
                  <a:pt x="761606" y="180873"/>
                </a:lnTo>
                <a:lnTo>
                  <a:pt x="761606" y="178587"/>
                </a:lnTo>
                <a:lnTo>
                  <a:pt x="757148" y="174002"/>
                </a:lnTo>
                <a:lnTo>
                  <a:pt x="743762" y="174002"/>
                </a:lnTo>
                <a:lnTo>
                  <a:pt x="741527" y="176276"/>
                </a:lnTo>
                <a:lnTo>
                  <a:pt x="739292" y="176276"/>
                </a:lnTo>
                <a:lnTo>
                  <a:pt x="734809" y="180873"/>
                </a:lnTo>
                <a:lnTo>
                  <a:pt x="734809" y="183159"/>
                </a:lnTo>
                <a:lnTo>
                  <a:pt x="732574" y="185432"/>
                </a:lnTo>
                <a:lnTo>
                  <a:pt x="732574" y="196900"/>
                </a:lnTo>
                <a:lnTo>
                  <a:pt x="734809" y="196900"/>
                </a:lnTo>
                <a:lnTo>
                  <a:pt x="734809" y="201460"/>
                </a:lnTo>
                <a:lnTo>
                  <a:pt x="737031" y="201460"/>
                </a:lnTo>
                <a:lnTo>
                  <a:pt x="737031" y="203784"/>
                </a:lnTo>
                <a:lnTo>
                  <a:pt x="739292" y="203784"/>
                </a:lnTo>
                <a:lnTo>
                  <a:pt x="741527" y="206057"/>
                </a:lnTo>
                <a:lnTo>
                  <a:pt x="745985" y="206057"/>
                </a:lnTo>
                <a:lnTo>
                  <a:pt x="745985" y="208343"/>
                </a:lnTo>
                <a:lnTo>
                  <a:pt x="752678" y="208343"/>
                </a:lnTo>
                <a:lnTo>
                  <a:pt x="757148" y="206057"/>
                </a:lnTo>
                <a:lnTo>
                  <a:pt x="761606" y="201460"/>
                </a:lnTo>
                <a:lnTo>
                  <a:pt x="761606" y="199186"/>
                </a:lnTo>
                <a:lnTo>
                  <a:pt x="763841" y="199186"/>
                </a:lnTo>
                <a:lnTo>
                  <a:pt x="763841" y="194589"/>
                </a:lnTo>
                <a:lnTo>
                  <a:pt x="766102" y="194589"/>
                </a:lnTo>
                <a:lnTo>
                  <a:pt x="766102" y="187744"/>
                </a:lnTo>
                <a:close/>
              </a:path>
              <a:path w="826770" h="657225">
                <a:moveTo>
                  <a:pt x="826668" y="62115"/>
                </a:moveTo>
                <a:lnTo>
                  <a:pt x="824750" y="55918"/>
                </a:lnTo>
                <a:lnTo>
                  <a:pt x="819670" y="50380"/>
                </a:lnTo>
                <a:lnTo>
                  <a:pt x="812977" y="45808"/>
                </a:lnTo>
                <a:lnTo>
                  <a:pt x="804062" y="45808"/>
                </a:lnTo>
                <a:lnTo>
                  <a:pt x="797369" y="52654"/>
                </a:lnTo>
                <a:lnTo>
                  <a:pt x="768324" y="86995"/>
                </a:lnTo>
                <a:lnTo>
                  <a:pt x="765835" y="92875"/>
                </a:lnTo>
                <a:lnTo>
                  <a:pt x="765238" y="99593"/>
                </a:lnTo>
                <a:lnTo>
                  <a:pt x="766749" y="106324"/>
                </a:lnTo>
                <a:lnTo>
                  <a:pt x="770559" y="112191"/>
                </a:lnTo>
                <a:lnTo>
                  <a:pt x="775030" y="114465"/>
                </a:lnTo>
                <a:lnTo>
                  <a:pt x="790638" y="114465"/>
                </a:lnTo>
                <a:lnTo>
                  <a:pt x="795134" y="109905"/>
                </a:lnTo>
                <a:lnTo>
                  <a:pt x="821931" y="75565"/>
                </a:lnTo>
                <a:lnTo>
                  <a:pt x="825665" y="68732"/>
                </a:lnTo>
                <a:lnTo>
                  <a:pt x="826668" y="62115"/>
                </a:lnTo>
                <a:close/>
              </a:path>
            </a:pathLst>
          </a:custGeom>
          <a:solidFill>
            <a:srgbClr val="EF5A28"/>
          </a:solidFill>
        </p:spPr>
        <p:txBody>
          <a:bodyPr wrap="square" lIns="0" tIns="0" rIns="0" bIns="0" rtlCol="0"/>
          <a:lstStyle/>
          <a:p>
            <a:endParaRPr>
              <a:solidFill>
                <a:schemeClr val="accent4"/>
              </a:solidFill>
            </a:endParaRPr>
          </a:p>
        </p:txBody>
      </p:sp>
      <p:sp>
        <p:nvSpPr>
          <p:cNvPr id="40" name="object 48"/>
          <p:cNvSpPr/>
          <p:nvPr/>
        </p:nvSpPr>
        <p:spPr>
          <a:xfrm>
            <a:off x="1515237" y="6567310"/>
            <a:ext cx="1694688" cy="1886152"/>
          </a:xfrm>
          <a:custGeom>
            <a:avLst/>
            <a:gdLst/>
            <a:ahLst/>
            <a:cxnLst/>
            <a:rect l="l" t="t" r="r" b="b"/>
            <a:pathLst>
              <a:path w="727075" h="727075">
                <a:moveTo>
                  <a:pt x="85458" y="351764"/>
                </a:moveTo>
                <a:lnTo>
                  <a:pt x="79641" y="345948"/>
                </a:lnTo>
                <a:lnTo>
                  <a:pt x="71869" y="345948"/>
                </a:lnTo>
                <a:lnTo>
                  <a:pt x="54381" y="345948"/>
                </a:lnTo>
                <a:lnTo>
                  <a:pt x="48552" y="351764"/>
                </a:lnTo>
                <a:lnTo>
                  <a:pt x="48552" y="365353"/>
                </a:lnTo>
                <a:lnTo>
                  <a:pt x="54381" y="371208"/>
                </a:lnTo>
                <a:lnTo>
                  <a:pt x="79641" y="371208"/>
                </a:lnTo>
                <a:lnTo>
                  <a:pt x="85458" y="365353"/>
                </a:lnTo>
                <a:lnTo>
                  <a:pt x="85458" y="351764"/>
                </a:lnTo>
                <a:close/>
              </a:path>
              <a:path w="727075" h="727075">
                <a:moveTo>
                  <a:pt x="157340" y="351764"/>
                </a:moveTo>
                <a:lnTo>
                  <a:pt x="153454" y="345948"/>
                </a:lnTo>
                <a:lnTo>
                  <a:pt x="145681" y="345948"/>
                </a:lnTo>
                <a:lnTo>
                  <a:pt x="114604" y="345948"/>
                </a:lnTo>
                <a:lnTo>
                  <a:pt x="108775" y="351764"/>
                </a:lnTo>
                <a:lnTo>
                  <a:pt x="108775" y="365353"/>
                </a:lnTo>
                <a:lnTo>
                  <a:pt x="114604" y="371208"/>
                </a:lnTo>
                <a:lnTo>
                  <a:pt x="153454" y="371208"/>
                </a:lnTo>
                <a:lnTo>
                  <a:pt x="157340" y="365353"/>
                </a:lnTo>
                <a:lnTo>
                  <a:pt x="157340" y="351764"/>
                </a:lnTo>
                <a:close/>
              </a:path>
              <a:path w="727075" h="727075">
                <a:moveTo>
                  <a:pt x="225323" y="312889"/>
                </a:moveTo>
                <a:lnTo>
                  <a:pt x="221437" y="307060"/>
                </a:lnTo>
                <a:lnTo>
                  <a:pt x="209791" y="303174"/>
                </a:lnTo>
                <a:lnTo>
                  <a:pt x="202018" y="307060"/>
                </a:lnTo>
                <a:lnTo>
                  <a:pt x="197523" y="325374"/>
                </a:lnTo>
                <a:lnTo>
                  <a:pt x="195707" y="336461"/>
                </a:lnTo>
                <a:lnTo>
                  <a:pt x="194602" y="347903"/>
                </a:lnTo>
                <a:lnTo>
                  <a:pt x="194246" y="367322"/>
                </a:lnTo>
                <a:lnTo>
                  <a:pt x="196189" y="373151"/>
                </a:lnTo>
                <a:lnTo>
                  <a:pt x="200075" y="378968"/>
                </a:lnTo>
                <a:lnTo>
                  <a:pt x="207848" y="378968"/>
                </a:lnTo>
                <a:lnTo>
                  <a:pt x="213664" y="377024"/>
                </a:lnTo>
                <a:lnTo>
                  <a:pt x="219494" y="371208"/>
                </a:lnTo>
                <a:lnTo>
                  <a:pt x="219494" y="365353"/>
                </a:lnTo>
                <a:lnTo>
                  <a:pt x="219494" y="359537"/>
                </a:lnTo>
                <a:lnTo>
                  <a:pt x="219837" y="349364"/>
                </a:lnTo>
                <a:lnTo>
                  <a:pt x="220713" y="339382"/>
                </a:lnTo>
                <a:lnTo>
                  <a:pt x="221957" y="329755"/>
                </a:lnTo>
                <a:lnTo>
                  <a:pt x="223380" y="320675"/>
                </a:lnTo>
                <a:lnTo>
                  <a:pt x="225323" y="312889"/>
                </a:lnTo>
                <a:close/>
              </a:path>
              <a:path w="727075" h="727075">
                <a:moveTo>
                  <a:pt x="271932" y="478078"/>
                </a:moveTo>
                <a:lnTo>
                  <a:pt x="270002" y="470306"/>
                </a:lnTo>
                <a:lnTo>
                  <a:pt x="266115" y="466432"/>
                </a:lnTo>
                <a:lnTo>
                  <a:pt x="257771" y="457657"/>
                </a:lnTo>
                <a:lnTo>
                  <a:pt x="250329" y="448691"/>
                </a:lnTo>
                <a:lnTo>
                  <a:pt x="243992" y="439369"/>
                </a:lnTo>
                <a:lnTo>
                  <a:pt x="238925" y="429501"/>
                </a:lnTo>
                <a:lnTo>
                  <a:pt x="235038" y="423672"/>
                </a:lnTo>
                <a:lnTo>
                  <a:pt x="227266" y="421728"/>
                </a:lnTo>
                <a:lnTo>
                  <a:pt x="215607" y="429501"/>
                </a:lnTo>
                <a:lnTo>
                  <a:pt x="213664" y="437261"/>
                </a:lnTo>
                <a:lnTo>
                  <a:pt x="217551" y="443115"/>
                </a:lnTo>
                <a:lnTo>
                  <a:pt x="224053" y="454406"/>
                </a:lnTo>
                <a:lnTo>
                  <a:pt x="231635" y="464959"/>
                </a:lnTo>
                <a:lnTo>
                  <a:pt x="239953" y="474802"/>
                </a:lnTo>
                <a:lnTo>
                  <a:pt x="248640" y="483908"/>
                </a:lnTo>
                <a:lnTo>
                  <a:pt x="254457" y="487807"/>
                </a:lnTo>
                <a:lnTo>
                  <a:pt x="262242" y="487807"/>
                </a:lnTo>
                <a:lnTo>
                  <a:pt x="271932" y="478078"/>
                </a:lnTo>
                <a:close/>
              </a:path>
              <a:path w="727075" h="727075">
                <a:moveTo>
                  <a:pt x="299135" y="221538"/>
                </a:moveTo>
                <a:lnTo>
                  <a:pt x="291363" y="209892"/>
                </a:lnTo>
                <a:lnTo>
                  <a:pt x="285546" y="207949"/>
                </a:lnTo>
                <a:lnTo>
                  <a:pt x="279730" y="211836"/>
                </a:lnTo>
                <a:lnTo>
                  <a:pt x="268427" y="218363"/>
                </a:lnTo>
                <a:lnTo>
                  <a:pt x="257860" y="226161"/>
                </a:lnTo>
                <a:lnTo>
                  <a:pt x="248031" y="235064"/>
                </a:lnTo>
                <a:lnTo>
                  <a:pt x="238925" y="244868"/>
                </a:lnTo>
                <a:lnTo>
                  <a:pt x="233095" y="248767"/>
                </a:lnTo>
                <a:lnTo>
                  <a:pt x="235038" y="256540"/>
                </a:lnTo>
                <a:lnTo>
                  <a:pt x="238925" y="262356"/>
                </a:lnTo>
                <a:lnTo>
                  <a:pt x="244754" y="266242"/>
                </a:lnTo>
                <a:lnTo>
                  <a:pt x="252514" y="266242"/>
                </a:lnTo>
                <a:lnTo>
                  <a:pt x="256400" y="260413"/>
                </a:lnTo>
                <a:lnTo>
                  <a:pt x="264045" y="252044"/>
                </a:lnTo>
                <a:lnTo>
                  <a:pt x="272427" y="244386"/>
                </a:lnTo>
                <a:lnTo>
                  <a:pt x="281533" y="237464"/>
                </a:lnTo>
                <a:lnTo>
                  <a:pt x="291363" y="231279"/>
                </a:lnTo>
                <a:lnTo>
                  <a:pt x="297192" y="229336"/>
                </a:lnTo>
                <a:lnTo>
                  <a:pt x="299135" y="221538"/>
                </a:lnTo>
                <a:close/>
              </a:path>
              <a:path w="727075" h="727075">
                <a:moveTo>
                  <a:pt x="378790" y="645223"/>
                </a:moveTo>
                <a:lnTo>
                  <a:pt x="372948" y="639381"/>
                </a:lnTo>
                <a:lnTo>
                  <a:pt x="365188" y="639381"/>
                </a:lnTo>
                <a:lnTo>
                  <a:pt x="359359" y="639381"/>
                </a:lnTo>
                <a:lnTo>
                  <a:pt x="353542" y="645223"/>
                </a:lnTo>
                <a:lnTo>
                  <a:pt x="353542" y="670483"/>
                </a:lnTo>
                <a:lnTo>
                  <a:pt x="359359" y="676313"/>
                </a:lnTo>
                <a:lnTo>
                  <a:pt x="372948" y="676313"/>
                </a:lnTo>
                <a:lnTo>
                  <a:pt x="378790" y="670483"/>
                </a:lnTo>
                <a:lnTo>
                  <a:pt x="378790" y="645223"/>
                </a:lnTo>
                <a:close/>
              </a:path>
              <a:path w="727075" h="727075">
                <a:moveTo>
                  <a:pt x="378790" y="571373"/>
                </a:moveTo>
                <a:lnTo>
                  <a:pt x="372948" y="567486"/>
                </a:lnTo>
                <a:lnTo>
                  <a:pt x="365188" y="567486"/>
                </a:lnTo>
                <a:lnTo>
                  <a:pt x="359359" y="567486"/>
                </a:lnTo>
                <a:lnTo>
                  <a:pt x="353542" y="571373"/>
                </a:lnTo>
                <a:lnTo>
                  <a:pt x="353542" y="610235"/>
                </a:lnTo>
                <a:lnTo>
                  <a:pt x="359359" y="616064"/>
                </a:lnTo>
                <a:lnTo>
                  <a:pt x="372948" y="616064"/>
                </a:lnTo>
                <a:lnTo>
                  <a:pt x="378790" y="610235"/>
                </a:lnTo>
                <a:lnTo>
                  <a:pt x="378790" y="571373"/>
                </a:lnTo>
                <a:close/>
              </a:path>
              <a:path w="727075" h="727075">
                <a:moveTo>
                  <a:pt x="378790" y="106895"/>
                </a:moveTo>
                <a:lnTo>
                  <a:pt x="372948" y="101079"/>
                </a:lnTo>
                <a:lnTo>
                  <a:pt x="359359" y="101079"/>
                </a:lnTo>
                <a:lnTo>
                  <a:pt x="353542" y="106895"/>
                </a:lnTo>
                <a:lnTo>
                  <a:pt x="353542" y="145745"/>
                </a:lnTo>
                <a:lnTo>
                  <a:pt x="359359" y="149656"/>
                </a:lnTo>
                <a:lnTo>
                  <a:pt x="365188" y="149656"/>
                </a:lnTo>
                <a:lnTo>
                  <a:pt x="372948" y="149656"/>
                </a:lnTo>
                <a:lnTo>
                  <a:pt x="378790" y="145745"/>
                </a:lnTo>
                <a:lnTo>
                  <a:pt x="378790" y="106895"/>
                </a:lnTo>
                <a:close/>
              </a:path>
              <a:path w="727075" h="727075">
                <a:moveTo>
                  <a:pt x="378790" y="46634"/>
                </a:moveTo>
                <a:lnTo>
                  <a:pt x="372948" y="40817"/>
                </a:lnTo>
                <a:lnTo>
                  <a:pt x="359359" y="40817"/>
                </a:lnTo>
                <a:lnTo>
                  <a:pt x="353542" y="46634"/>
                </a:lnTo>
                <a:lnTo>
                  <a:pt x="353542" y="71907"/>
                </a:lnTo>
                <a:lnTo>
                  <a:pt x="359359" y="77749"/>
                </a:lnTo>
                <a:lnTo>
                  <a:pt x="365188" y="77749"/>
                </a:lnTo>
                <a:lnTo>
                  <a:pt x="372948" y="77749"/>
                </a:lnTo>
                <a:lnTo>
                  <a:pt x="378790" y="71907"/>
                </a:lnTo>
                <a:lnTo>
                  <a:pt x="378790" y="46634"/>
                </a:lnTo>
                <a:close/>
              </a:path>
              <a:path w="727075" h="727075">
                <a:moveTo>
                  <a:pt x="382676" y="511124"/>
                </a:moveTo>
                <a:lnTo>
                  <a:pt x="376847" y="505294"/>
                </a:lnTo>
                <a:lnTo>
                  <a:pt x="367118" y="505294"/>
                </a:lnTo>
                <a:lnTo>
                  <a:pt x="355815" y="504926"/>
                </a:lnTo>
                <a:lnTo>
                  <a:pt x="345033" y="503834"/>
                </a:lnTo>
                <a:lnTo>
                  <a:pt x="334619" y="502018"/>
                </a:lnTo>
                <a:lnTo>
                  <a:pt x="324383" y="499465"/>
                </a:lnTo>
                <a:lnTo>
                  <a:pt x="318566" y="497522"/>
                </a:lnTo>
                <a:lnTo>
                  <a:pt x="310794" y="501408"/>
                </a:lnTo>
                <a:lnTo>
                  <a:pt x="308864" y="507238"/>
                </a:lnTo>
                <a:lnTo>
                  <a:pt x="306920" y="515010"/>
                </a:lnTo>
                <a:lnTo>
                  <a:pt x="310794" y="520839"/>
                </a:lnTo>
                <a:lnTo>
                  <a:pt x="318566" y="522782"/>
                </a:lnTo>
                <a:lnTo>
                  <a:pt x="330250" y="526453"/>
                </a:lnTo>
                <a:lnTo>
                  <a:pt x="342112" y="528853"/>
                </a:lnTo>
                <a:lnTo>
                  <a:pt x="354342" y="530161"/>
                </a:lnTo>
                <a:lnTo>
                  <a:pt x="367118" y="530555"/>
                </a:lnTo>
                <a:lnTo>
                  <a:pt x="376847" y="530555"/>
                </a:lnTo>
                <a:lnTo>
                  <a:pt x="382676" y="524725"/>
                </a:lnTo>
                <a:lnTo>
                  <a:pt x="382676" y="511124"/>
                </a:lnTo>
                <a:close/>
              </a:path>
              <a:path w="727075" h="727075">
                <a:moveTo>
                  <a:pt x="417626" y="200190"/>
                </a:moveTo>
                <a:lnTo>
                  <a:pt x="376504" y="186931"/>
                </a:lnTo>
                <a:lnTo>
                  <a:pt x="365188" y="186575"/>
                </a:lnTo>
                <a:lnTo>
                  <a:pt x="357416" y="186575"/>
                </a:lnTo>
                <a:lnTo>
                  <a:pt x="353542" y="188506"/>
                </a:lnTo>
                <a:lnTo>
                  <a:pt x="347687" y="188506"/>
                </a:lnTo>
                <a:lnTo>
                  <a:pt x="341871" y="194335"/>
                </a:lnTo>
                <a:lnTo>
                  <a:pt x="343814" y="200190"/>
                </a:lnTo>
                <a:lnTo>
                  <a:pt x="343814" y="207949"/>
                </a:lnTo>
                <a:lnTo>
                  <a:pt x="349631" y="211836"/>
                </a:lnTo>
                <a:lnTo>
                  <a:pt x="355485" y="211836"/>
                </a:lnTo>
                <a:lnTo>
                  <a:pt x="365188" y="211836"/>
                </a:lnTo>
                <a:lnTo>
                  <a:pt x="407924" y="217652"/>
                </a:lnTo>
                <a:lnTo>
                  <a:pt x="413740" y="213779"/>
                </a:lnTo>
                <a:lnTo>
                  <a:pt x="415683" y="206006"/>
                </a:lnTo>
                <a:lnTo>
                  <a:pt x="417626" y="200190"/>
                </a:lnTo>
                <a:close/>
              </a:path>
              <a:path w="727075" h="727075">
                <a:moveTo>
                  <a:pt x="493382" y="466432"/>
                </a:moveTo>
                <a:lnTo>
                  <a:pt x="483679" y="456704"/>
                </a:lnTo>
                <a:lnTo>
                  <a:pt x="475919" y="456704"/>
                </a:lnTo>
                <a:lnTo>
                  <a:pt x="472008" y="460578"/>
                </a:lnTo>
                <a:lnTo>
                  <a:pt x="463245" y="468934"/>
                </a:lnTo>
                <a:lnTo>
                  <a:pt x="454304" y="476377"/>
                </a:lnTo>
                <a:lnTo>
                  <a:pt x="444982" y="482727"/>
                </a:lnTo>
                <a:lnTo>
                  <a:pt x="435114" y="487807"/>
                </a:lnTo>
                <a:lnTo>
                  <a:pt x="429298" y="491693"/>
                </a:lnTo>
                <a:lnTo>
                  <a:pt x="427355" y="499465"/>
                </a:lnTo>
                <a:lnTo>
                  <a:pt x="429298" y="505294"/>
                </a:lnTo>
                <a:lnTo>
                  <a:pt x="433171" y="511124"/>
                </a:lnTo>
                <a:lnTo>
                  <a:pt x="440931" y="513067"/>
                </a:lnTo>
                <a:lnTo>
                  <a:pt x="446760" y="509181"/>
                </a:lnTo>
                <a:lnTo>
                  <a:pt x="458089" y="502958"/>
                </a:lnTo>
                <a:lnTo>
                  <a:pt x="468871" y="495820"/>
                </a:lnTo>
                <a:lnTo>
                  <a:pt x="479272" y="487591"/>
                </a:lnTo>
                <a:lnTo>
                  <a:pt x="489496" y="478078"/>
                </a:lnTo>
                <a:lnTo>
                  <a:pt x="493382" y="474192"/>
                </a:lnTo>
                <a:lnTo>
                  <a:pt x="493382" y="466432"/>
                </a:lnTo>
                <a:close/>
              </a:path>
              <a:path w="727075" h="727075">
                <a:moveTo>
                  <a:pt x="514756" y="274040"/>
                </a:moveTo>
                <a:lnTo>
                  <a:pt x="510870" y="268185"/>
                </a:lnTo>
                <a:lnTo>
                  <a:pt x="504342" y="256895"/>
                </a:lnTo>
                <a:lnTo>
                  <a:pt x="496544" y="246329"/>
                </a:lnTo>
                <a:lnTo>
                  <a:pt x="487654" y="236499"/>
                </a:lnTo>
                <a:lnTo>
                  <a:pt x="477862" y="227393"/>
                </a:lnTo>
                <a:lnTo>
                  <a:pt x="472008" y="223507"/>
                </a:lnTo>
                <a:lnTo>
                  <a:pt x="464248" y="223507"/>
                </a:lnTo>
                <a:lnTo>
                  <a:pt x="456488" y="235153"/>
                </a:lnTo>
                <a:lnTo>
                  <a:pt x="456488" y="242925"/>
                </a:lnTo>
                <a:lnTo>
                  <a:pt x="460362" y="246824"/>
                </a:lnTo>
                <a:lnTo>
                  <a:pt x="469036" y="254469"/>
                </a:lnTo>
                <a:lnTo>
                  <a:pt x="477354" y="262851"/>
                </a:lnTo>
                <a:lnTo>
                  <a:pt x="484949" y="271957"/>
                </a:lnTo>
                <a:lnTo>
                  <a:pt x="495325" y="287629"/>
                </a:lnTo>
                <a:lnTo>
                  <a:pt x="501167" y="287629"/>
                </a:lnTo>
                <a:lnTo>
                  <a:pt x="506984" y="285686"/>
                </a:lnTo>
                <a:lnTo>
                  <a:pt x="512813" y="281800"/>
                </a:lnTo>
                <a:lnTo>
                  <a:pt x="514756" y="274040"/>
                </a:lnTo>
                <a:close/>
              </a:path>
              <a:path w="727075" h="727075">
                <a:moveTo>
                  <a:pt x="538060" y="347878"/>
                </a:moveTo>
                <a:lnTo>
                  <a:pt x="536117" y="342036"/>
                </a:lnTo>
                <a:lnTo>
                  <a:pt x="536117" y="336207"/>
                </a:lnTo>
                <a:lnTo>
                  <a:pt x="530301" y="330390"/>
                </a:lnTo>
                <a:lnTo>
                  <a:pt x="522541" y="332320"/>
                </a:lnTo>
                <a:lnTo>
                  <a:pt x="516686" y="332320"/>
                </a:lnTo>
                <a:lnTo>
                  <a:pt x="510870" y="338150"/>
                </a:lnTo>
                <a:lnTo>
                  <a:pt x="512813" y="345948"/>
                </a:lnTo>
                <a:lnTo>
                  <a:pt x="512813" y="359537"/>
                </a:lnTo>
                <a:lnTo>
                  <a:pt x="506984" y="404228"/>
                </a:lnTo>
                <a:lnTo>
                  <a:pt x="503110" y="410057"/>
                </a:lnTo>
                <a:lnTo>
                  <a:pt x="506984" y="415912"/>
                </a:lnTo>
                <a:lnTo>
                  <a:pt x="514756" y="417855"/>
                </a:lnTo>
                <a:lnTo>
                  <a:pt x="520573" y="419785"/>
                </a:lnTo>
                <a:lnTo>
                  <a:pt x="526415" y="417855"/>
                </a:lnTo>
                <a:lnTo>
                  <a:pt x="537400" y="372618"/>
                </a:lnTo>
                <a:lnTo>
                  <a:pt x="538060" y="359537"/>
                </a:lnTo>
                <a:lnTo>
                  <a:pt x="538060" y="347878"/>
                </a:lnTo>
                <a:close/>
              </a:path>
              <a:path w="727075" h="727075">
                <a:moveTo>
                  <a:pt x="623544" y="351764"/>
                </a:moveTo>
                <a:lnTo>
                  <a:pt x="617728" y="345948"/>
                </a:lnTo>
                <a:lnTo>
                  <a:pt x="578866" y="345948"/>
                </a:lnTo>
                <a:lnTo>
                  <a:pt x="574979" y="351764"/>
                </a:lnTo>
                <a:lnTo>
                  <a:pt x="574979" y="365353"/>
                </a:lnTo>
                <a:lnTo>
                  <a:pt x="578866" y="371208"/>
                </a:lnTo>
                <a:lnTo>
                  <a:pt x="586625" y="371208"/>
                </a:lnTo>
                <a:lnTo>
                  <a:pt x="617728" y="371208"/>
                </a:lnTo>
                <a:lnTo>
                  <a:pt x="623544" y="365353"/>
                </a:lnTo>
                <a:lnTo>
                  <a:pt x="623544" y="351764"/>
                </a:lnTo>
                <a:close/>
              </a:path>
              <a:path w="727075" h="727075">
                <a:moveTo>
                  <a:pt x="683755" y="351764"/>
                </a:moveTo>
                <a:lnTo>
                  <a:pt x="677926" y="345948"/>
                </a:lnTo>
                <a:lnTo>
                  <a:pt x="652678" y="345948"/>
                </a:lnTo>
                <a:lnTo>
                  <a:pt x="646861" y="351764"/>
                </a:lnTo>
                <a:lnTo>
                  <a:pt x="646861" y="365353"/>
                </a:lnTo>
                <a:lnTo>
                  <a:pt x="652678" y="371208"/>
                </a:lnTo>
                <a:lnTo>
                  <a:pt x="660438" y="371208"/>
                </a:lnTo>
                <a:lnTo>
                  <a:pt x="677926" y="371208"/>
                </a:lnTo>
                <a:lnTo>
                  <a:pt x="683755" y="365353"/>
                </a:lnTo>
                <a:lnTo>
                  <a:pt x="683755" y="351764"/>
                </a:lnTo>
                <a:close/>
              </a:path>
              <a:path w="727075" h="727075">
                <a:moveTo>
                  <a:pt x="726541" y="260413"/>
                </a:moveTo>
                <a:lnTo>
                  <a:pt x="709002" y="260413"/>
                </a:lnTo>
                <a:lnTo>
                  <a:pt x="709002" y="285686"/>
                </a:lnTo>
                <a:lnTo>
                  <a:pt x="709002" y="431444"/>
                </a:lnTo>
                <a:lnTo>
                  <a:pt x="561378" y="431444"/>
                </a:lnTo>
                <a:lnTo>
                  <a:pt x="557491" y="439204"/>
                </a:lnTo>
                <a:lnTo>
                  <a:pt x="538276" y="474827"/>
                </a:lnTo>
                <a:lnTo>
                  <a:pt x="513054" y="505536"/>
                </a:lnTo>
                <a:lnTo>
                  <a:pt x="482371" y="530771"/>
                </a:lnTo>
                <a:lnTo>
                  <a:pt x="446760" y="549986"/>
                </a:lnTo>
                <a:lnTo>
                  <a:pt x="439000" y="553872"/>
                </a:lnTo>
                <a:lnTo>
                  <a:pt x="439000" y="701573"/>
                </a:lnTo>
                <a:lnTo>
                  <a:pt x="293306" y="701573"/>
                </a:lnTo>
                <a:lnTo>
                  <a:pt x="293306" y="553872"/>
                </a:lnTo>
                <a:lnTo>
                  <a:pt x="285546" y="549986"/>
                </a:lnTo>
                <a:lnTo>
                  <a:pt x="249936" y="530771"/>
                </a:lnTo>
                <a:lnTo>
                  <a:pt x="219252" y="505536"/>
                </a:lnTo>
                <a:lnTo>
                  <a:pt x="194030" y="474827"/>
                </a:lnTo>
                <a:lnTo>
                  <a:pt x="174815" y="439204"/>
                </a:lnTo>
                <a:lnTo>
                  <a:pt x="170929" y="431444"/>
                </a:lnTo>
                <a:lnTo>
                  <a:pt x="23304" y="431444"/>
                </a:lnTo>
                <a:lnTo>
                  <a:pt x="23304" y="285686"/>
                </a:lnTo>
                <a:lnTo>
                  <a:pt x="170929" y="285686"/>
                </a:lnTo>
                <a:lnTo>
                  <a:pt x="174815" y="277914"/>
                </a:lnTo>
                <a:lnTo>
                  <a:pt x="194030" y="242303"/>
                </a:lnTo>
                <a:lnTo>
                  <a:pt x="219252" y="211594"/>
                </a:lnTo>
                <a:lnTo>
                  <a:pt x="249936" y="186359"/>
                </a:lnTo>
                <a:lnTo>
                  <a:pt x="285546" y="167132"/>
                </a:lnTo>
                <a:lnTo>
                  <a:pt x="293306" y="163245"/>
                </a:lnTo>
                <a:lnTo>
                  <a:pt x="293306" y="15557"/>
                </a:lnTo>
                <a:lnTo>
                  <a:pt x="439000" y="15557"/>
                </a:lnTo>
                <a:lnTo>
                  <a:pt x="439000" y="163245"/>
                </a:lnTo>
                <a:lnTo>
                  <a:pt x="446760" y="167132"/>
                </a:lnTo>
                <a:lnTo>
                  <a:pt x="482371" y="186359"/>
                </a:lnTo>
                <a:lnTo>
                  <a:pt x="513054" y="211594"/>
                </a:lnTo>
                <a:lnTo>
                  <a:pt x="538276" y="242303"/>
                </a:lnTo>
                <a:lnTo>
                  <a:pt x="557491" y="277914"/>
                </a:lnTo>
                <a:lnTo>
                  <a:pt x="561378" y="285686"/>
                </a:lnTo>
                <a:lnTo>
                  <a:pt x="709002" y="285686"/>
                </a:lnTo>
                <a:lnTo>
                  <a:pt x="709002" y="260413"/>
                </a:lnTo>
                <a:lnTo>
                  <a:pt x="576922" y="260413"/>
                </a:lnTo>
                <a:lnTo>
                  <a:pt x="556310" y="225590"/>
                </a:lnTo>
                <a:lnTo>
                  <a:pt x="530059" y="194576"/>
                </a:lnTo>
                <a:lnTo>
                  <a:pt x="499059" y="168313"/>
                </a:lnTo>
                <a:lnTo>
                  <a:pt x="464248" y="147688"/>
                </a:lnTo>
                <a:lnTo>
                  <a:pt x="464248" y="15557"/>
                </a:lnTo>
                <a:lnTo>
                  <a:pt x="464248" y="0"/>
                </a:lnTo>
                <a:lnTo>
                  <a:pt x="268058" y="0"/>
                </a:lnTo>
                <a:lnTo>
                  <a:pt x="268058" y="147688"/>
                </a:lnTo>
                <a:lnTo>
                  <a:pt x="232422" y="168313"/>
                </a:lnTo>
                <a:lnTo>
                  <a:pt x="201523" y="194576"/>
                </a:lnTo>
                <a:lnTo>
                  <a:pt x="175729" y="225590"/>
                </a:lnTo>
                <a:lnTo>
                  <a:pt x="155397" y="260413"/>
                </a:lnTo>
                <a:lnTo>
                  <a:pt x="0" y="260413"/>
                </a:lnTo>
                <a:lnTo>
                  <a:pt x="0" y="456704"/>
                </a:lnTo>
                <a:lnTo>
                  <a:pt x="155397" y="456704"/>
                </a:lnTo>
                <a:lnTo>
                  <a:pt x="175729" y="492353"/>
                </a:lnTo>
                <a:lnTo>
                  <a:pt x="201523" y="523265"/>
                </a:lnTo>
                <a:lnTo>
                  <a:pt x="232422" y="549084"/>
                </a:lnTo>
                <a:lnTo>
                  <a:pt x="268058" y="569429"/>
                </a:lnTo>
                <a:lnTo>
                  <a:pt x="268058" y="726554"/>
                </a:lnTo>
                <a:lnTo>
                  <a:pt x="464248" y="726554"/>
                </a:lnTo>
                <a:lnTo>
                  <a:pt x="464248" y="701573"/>
                </a:lnTo>
                <a:lnTo>
                  <a:pt x="464248" y="569429"/>
                </a:lnTo>
                <a:lnTo>
                  <a:pt x="499059" y="549084"/>
                </a:lnTo>
                <a:lnTo>
                  <a:pt x="530059" y="523265"/>
                </a:lnTo>
                <a:lnTo>
                  <a:pt x="556310" y="492353"/>
                </a:lnTo>
                <a:lnTo>
                  <a:pt x="576922" y="456704"/>
                </a:lnTo>
                <a:lnTo>
                  <a:pt x="726541" y="456704"/>
                </a:lnTo>
                <a:lnTo>
                  <a:pt x="726541" y="260413"/>
                </a:lnTo>
                <a:close/>
              </a:path>
            </a:pathLst>
          </a:custGeom>
          <a:solidFill>
            <a:srgbClr val="EF5A28"/>
          </a:solidFill>
        </p:spPr>
        <p:txBody>
          <a:bodyPr wrap="square" lIns="0" tIns="0" rIns="0" bIns="0" rtlCol="0"/>
          <a:lstStyle/>
          <a:p>
            <a:endParaRPr>
              <a:solidFill>
                <a:srgbClr val="4F9B43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0"/>
            <a:ext cx="6857999" cy="8309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endParaRPr lang="ru-RU" altLang="ru-RU" sz="1500" b="1" dirty="0" smtClean="0">
              <a:latin typeface="Arial Black" pitchFamily="34" charset="0"/>
            </a:endParaRP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Объем дорожного фонд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на 2021 – 2026 гг.</a:t>
            </a:r>
            <a:endParaRPr lang="ru-RU" altLang="ru-RU" sz="1500" b="1" dirty="0">
              <a:latin typeface="Arial Black" pitchFamily="34" charset="0"/>
            </a:endParaRPr>
          </a:p>
        </p:txBody>
      </p:sp>
      <p:pic>
        <p:nvPicPr>
          <p:cNvPr id="36" name="object 37"/>
          <p:cNvPicPr/>
          <p:nvPr/>
        </p:nvPicPr>
        <p:blipFill>
          <a:blip r:embed="rId5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581526" y="2104327"/>
            <a:ext cx="1661522" cy="1848541"/>
          </a:xfrm>
          <a:prstGeom prst="rect">
            <a:avLst/>
          </a:prstGeom>
        </p:spPr>
      </p:pic>
      <p:graphicFrame>
        <p:nvGraphicFramePr>
          <p:cNvPr id="7" name="Диаграмма 6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017909176"/>
              </p:ext>
            </p:extLst>
          </p:nvPr>
        </p:nvGraphicFramePr>
        <p:xfrm>
          <a:off x="0" y="1452538"/>
          <a:ext cx="6715148" cy="8453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Graphic spid="7" grpId="0">
        <p:bldAsOne/>
      </p:bldGraphic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ZhSuNA\Pictures\i (2)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1738290"/>
            <a:ext cx="6858002" cy="81677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</p:pic>
      <p:cxnSp>
        <p:nvCxnSpPr>
          <p:cNvPr id="4" name="Прямая соединительная линия 3"/>
          <p:cNvCxnSpPr/>
          <p:nvPr/>
        </p:nvCxnSpPr>
        <p:spPr>
          <a:xfrm rot="16200000" flipH="1">
            <a:off x="3759905" y="5503335"/>
            <a:ext cx="697095" cy="33020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 rot="10800000" flipV="1">
            <a:off x="1797050" y="5063066"/>
            <a:ext cx="666750" cy="102729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>
            <p:custDataLst>
              <p:tags r:id="rId1"/>
            </p:custDataLst>
          </p:nvPr>
        </p:nvSpPr>
        <p:spPr>
          <a:xfrm>
            <a:off x="268850" y="2070954"/>
            <a:ext cx="1502803" cy="153198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>
            <p:custDataLst>
              <p:tags r:id="rId2"/>
            </p:custDataLst>
          </p:nvPr>
        </p:nvSpPr>
        <p:spPr>
          <a:xfrm>
            <a:off x="306946" y="2028208"/>
            <a:ext cx="1421372" cy="80021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за счет средств краевого бюджета</a:t>
            </a:r>
            <a:endParaRPr lang="ru-RU" sz="1400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3"/>
            </p:custDataLst>
          </p:nvPr>
        </p:nvSpPr>
        <p:spPr>
          <a:xfrm>
            <a:off x="395908" y="2835842"/>
            <a:ext cx="126253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0,0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>
            <p:custDataLst>
              <p:tags r:id="rId4"/>
            </p:custDataLst>
          </p:nvPr>
        </p:nvSpPr>
        <p:spPr>
          <a:xfrm>
            <a:off x="2504095" y="3607741"/>
            <a:ext cx="2143140" cy="1583079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>
            <p:custDataLst>
              <p:tags r:id="rId5"/>
            </p:custDataLst>
          </p:nvPr>
        </p:nvSpPr>
        <p:spPr>
          <a:xfrm>
            <a:off x="2571744" y="3667116"/>
            <a:ext cx="1928826" cy="57150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за счет средств  бюджета города</a:t>
            </a:r>
            <a:endParaRPr lang="ru-RU" sz="1400" b="1" dirty="0"/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2949786" y="4254374"/>
            <a:ext cx="1262534" cy="47849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22,1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97469" y="6249094"/>
            <a:ext cx="1620180" cy="145616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381760"/>
            <a:ext cx="178458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механизированная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и ручная уборка</a:t>
            </a:r>
            <a:endParaRPr lang="ru-RU" sz="1400" b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85728" y="7096140"/>
            <a:ext cx="126253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3,2</a:t>
            </a:r>
            <a:endParaRPr lang="ru-RU" sz="2400" b="1" dirty="0">
              <a:solidFill>
                <a:schemeClr val="tx1"/>
              </a:solidFill>
            </a:endParaRPr>
          </a:p>
        </p:txBody>
      </p:sp>
      <p:grpSp>
        <p:nvGrpSpPr>
          <p:cNvPr id="12" name="Группа 8"/>
          <p:cNvGrpSpPr/>
          <p:nvPr/>
        </p:nvGrpSpPr>
        <p:grpSpPr>
          <a:xfrm>
            <a:off x="2870383" y="2009803"/>
            <a:ext cx="1423226" cy="936104"/>
            <a:chOff x="3280593" y="1837348"/>
            <a:chExt cx="2577739" cy="1392963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9" name="Скругленный прямоугольник 18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Скругленный прямоугольник 19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b="1" dirty="0" smtClean="0">
                  <a:solidFill>
                    <a:schemeClr val="tx1"/>
                  </a:solidFill>
                </a:rPr>
                <a:t>22,1</a:t>
              </a:r>
              <a:endParaRPr lang="ru-RU" sz="2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1" name="Прямая соединительная линия 20"/>
          <p:cNvCxnSpPr/>
          <p:nvPr/>
        </p:nvCxnSpPr>
        <p:spPr>
          <a:xfrm flipV="1">
            <a:off x="1905000" y="2555992"/>
            <a:ext cx="882650" cy="25682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3623259" y="3172217"/>
            <a:ext cx="0" cy="41604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>
            <p:custDataLst>
              <p:tags r:id="rId7"/>
            </p:custDataLst>
          </p:nvPr>
        </p:nvSpPr>
        <p:spPr>
          <a:xfrm>
            <a:off x="3508171" y="6147820"/>
            <a:ext cx="1529384" cy="1519824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>
            <p:custDataLst>
              <p:tags r:id="rId8"/>
            </p:custDataLst>
          </p:nvPr>
        </p:nvSpPr>
        <p:spPr>
          <a:xfrm>
            <a:off x="3625309" y="7108575"/>
            <a:ext cx="1262534" cy="40069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9,4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9"/>
            </p:custDataLst>
          </p:nvPr>
        </p:nvSpPr>
        <p:spPr>
          <a:xfrm>
            <a:off x="3500438" y="6238884"/>
            <a:ext cx="1549502" cy="76925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Ремонт автомобильных дорог</a:t>
            </a:r>
            <a:endParaRPr lang="ru-RU" sz="1400" b="1" dirty="0"/>
          </a:p>
        </p:txBody>
      </p:sp>
      <p:sp>
        <p:nvSpPr>
          <p:cNvPr id="31" name="Скругленный прямоугольник 30"/>
          <p:cNvSpPr/>
          <p:nvPr>
            <p:custDataLst>
              <p:tags r:id="rId10"/>
            </p:custDataLst>
          </p:nvPr>
        </p:nvSpPr>
        <p:spPr>
          <a:xfrm>
            <a:off x="1803116" y="6188471"/>
            <a:ext cx="1515133" cy="149933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>
            <p:custDataLst>
              <p:tags r:id="rId11"/>
            </p:custDataLst>
          </p:nvPr>
        </p:nvSpPr>
        <p:spPr>
          <a:xfrm>
            <a:off x="1857364" y="6310322"/>
            <a:ext cx="1433245" cy="76925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Уход за </a:t>
            </a:r>
          </a:p>
          <a:p>
            <a:pPr algn="ctr">
              <a:lnSpc>
                <a:spcPts val="1800"/>
              </a:lnSpc>
            </a:pPr>
            <a:r>
              <a:rPr lang="ru-RU" sz="1400" b="1" dirty="0" smtClean="0"/>
              <a:t>дорожной разметкой </a:t>
            </a:r>
            <a:endParaRPr lang="ru-RU" sz="1400" b="1" dirty="0"/>
          </a:p>
        </p:txBody>
      </p:sp>
      <p:sp>
        <p:nvSpPr>
          <p:cNvPr id="36" name="Скругленный прямоугольник 35"/>
          <p:cNvSpPr/>
          <p:nvPr>
            <p:custDataLst>
              <p:tags r:id="rId12"/>
            </p:custDataLst>
          </p:nvPr>
        </p:nvSpPr>
        <p:spPr>
          <a:xfrm>
            <a:off x="1928802" y="7096140"/>
            <a:ext cx="129614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6,3</a:t>
            </a:r>
            <a:endParaRPr lang="ru-RU" sz="2400" b="1" dirty="0">
              <a:solidFill>
                <a:schemeClr val="tx1"/>
              </a:solidFill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rot="5400000">
            <a:off x="2571753" y="5577421"/>
            <a:ext cx="660397" cy="292097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>
            <p:custDataLst>
              <p:tags r:id="rId13"/>
            </p:custDataLst>
          </p:nvPr>
        </p:nvSpPr>
        <p:spPr>
          <a:xfrm>
            <a:off x="5211994" y="6153042"/>
            <a:ext cx="1502762" cy="1514601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>
            <p:custDataLst>
              <p:tags r:id="rId14"/>
            </p:custDataLst>
          </p:nvPr>
        </p:nvSpPr>
        <p:spPr>
          <a:xfrm>
            <a:off x="5211198" y="6315870"/>
            <a:ext cx="1646802" cy="100008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содержание автомобильных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дорог</a:t>
            </a:r>
          </a:p>
          <a:p>
            <a:pPr lvl="0" algn="ctr">
              <a:lnSpc>
                <a:spcPts val="1800"/>
              </a:lnSpc>
            </a:pPr>
            <a:endParaRPr lang="ru-RU" sz="1400" b="1" dirty="0"/>
          </a:p>
        </p:txBody>
      </p:sp>
      <p:sp>
        <p:nvSpPr>
          <p:cNvPr id="40" name="Скругленный прямоугольник 39"/>
          <p:cNvSpPr/>
          <p:nvPr>
            <p:custDataLst>
              <p:tags r:id="rId15"/>
            </p:custDataLst>
          </p:nvPr>
        </p:nvSpPr>
        <p:spPr>
          <a:xfrm>
            <a:off x="5357826" y="7096140"/>
            <a:ext cx="1296144" cy="416046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3,2</a:t>
            </a:r>
            <a:endParaRPr lang="ru-RU" sz="2400" b="1" dirty="0">
              <a:solidFill>
                <a:schemeClr val="tx1"/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730754" y="5063071"/>
            <a:ext cx="685799" cy="101505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0" y="0"/>
            <a:ext cx="6857999" cy="120032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endParaRPr lang="ru-RU" altLang="ru-RU" sz="1500" b="1" dirty="0" smtClean="0">
              <a:latin typeface="Arial Black" pitchFamily="34" charset="0"/>
            </a:endParaRPr>
          </a:p>
          <a:p>
            <a:pPr algn="ctr">
              <a:lnSpc>
                <a:spcPct val="80000"/>
              </a:lnSpc>
              <a:defRPr/>
            </a:pPr>
            <a:endParaRPr lang="ru-RU" altLang="ru-RU" sz="1500" b="1" dirty="0" smtClean="0">
              <a:latin typeface="Arial Black" pitchFamily="34" charset="0"/>
            </a:endParaRPr>
          </a:p>
          <a:p>
            <a:pPr algn="ctr">
              <a:lnSpc>
                <a:spcPct val="80000"/>
              </a:lnSpc>
              <a:defRPr/>
            </a:pPr>
            <a:r>
              <a:rPr lang="ru-RU" altLang="ru-RU" sz="1500" b="1" dirty="0" smtClean="0">
                <a:latin typeface="Arial Black" pitchFamily="34" charset="0"/>
              </a:rPr>
              <a:t>Использование дорожного фонда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</a:p>
          <a:p>
            <a:pPr algn="ctr">
              <a:lnSpc>
                <a:spcPct val="80000"/>
              </a:lnSpc>
              <a:defRPr/>
            </a:pPr>
            <a:r>
              <a:rPr lang="ru-RU" altLang="ru-RU" sz="1500" b="1" dirty="0" smtClean="0">
                <a:latin typeface="Arial Black" pitchFamily="34" charset="0"/>
              </a:rPr>
              <a:t> на 2024 год</a:t>
            </a:r>
          </a:p>
          <a:p>
            <a:pPr algn="ctr">
              <a:lnSpc>
                <a:spcPct val="80000"/>
              </a:lnSpc>
              <a:defRPr/>
            </a:pPr>
            <a:endParaRPr lang="ru-RU" altLang="ru-RU" sz="1500" b="1" dirty="0"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-142899" y="-476287"/>
            <a:ext cx="7429552" cy="1093001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ct val="200000"/>
              </a:lnSpc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на 2024 год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6" name="Диаграмма 45"/>
          <p:cNvGraphicFramePr/>
          <p:nvPr/>
        </p:nvGraphicFramePr>
        <p:xfrm>
          <a:off x="714356" y="1523981"/>
          <a:ext cx="5857916" cy="685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5" descr="C:\Users\ZhSuNA\Pictures\df5ecdc60bd7a08064f92772d9bdd194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28" y="1666852"/>
            <a:ext cx="1333500" cy="1333500"/>
          </a:xfrm>
          <a:prstGeom prst="rect">
            <a:avLst/>
          </a:prstGeom>
          <a:noFill/>
          <a:ln w="127000">
            <a:solidFill>
              <a:srgbClr val="4F9B43"/>
            </a:solidFill>
          </a:ln>
        </p:spPr>
      </p:pic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00372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Скругленный прямоугольник 38"/>
          <p:cNvSpPr/>
          <p:nvPr/>
        </p:nvSpPr>
        <p:spPr>
          <a:xfrm>
            <a:off x="-214338" y="-547726"/>
            <a:ext cx="7286652" cy="108109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-курорта Железноводска в разрезе муниципальных программ и </a:t>
            </a:r>
            <a:r>
              <a:rPr lang="ru-RU" sz="1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программных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направлений деятельности на 2024 год и плановый период 2025 и 2026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eaLnBrk="1" hangingPunct="1">
              <a:defRPr/>
            </a:pPr>
            <a:endParaRPr lang="ru-RU" sz="1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Text Box 3"/>
          <p:cNvSpPr txBox="1">
            <a:spLocks noChangeArrowheads="1"/>
          </p:cNvSpPr>
          <p:nvPr/>
        </p:nvSpPr>
        <p:spPr bwMode="auto">
          <a:xfrm>
            <a:off x="5357826" y="1738289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1" name="Text Box 4"/>
          <p:cNvSpPr txBox="1">
            <a:spLocks noChangeArrowheads="1"/>
          </p:cNvSpPr>
          <p:nvPr/>
        </p:nvSpPr>
        <p:spPr bwMode="auto">
          <a:xfrm>
            <a:off x="1214423" y="2166918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4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2" name="Text Box 5"/>
          <p:cNvSpPr txBox="1">
            <a:spLocks noChangeArrowheads="1"/>
          </p:cNvSpPr>
          <p:nvPr/>
        </p:nvSpPr>
        <p:spPr bwMode="auto">
          <a:xfrm>
            <a:off x="3429001" y="2166918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5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3" name="Text Box 6"/>
          <p:cNvSpPr txBox="1">
            <a:spLocks noChangeArrowheads="1"/>
          </p:cNvSpPr>
          <p:nvPr/>
        </p:nvSpPr>
        <p:spPr bwMode="auto">
          <a:xfrm>
            <a:off x="5572141" y="2166918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6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4" name="AutoShape 7"/>
          <p:cNvSpPr>
            <a:spLocks noChangeArrowheads="1"/>
          </p:cNvSpPr>
          <p:nvPr/>
        </p:nvSpPr>
        <p:spPr bwMode="auto">
          <a:xfrm>
            <a:off x="785794" y="2809861"/>
            <a:ext cx="1571636" cy="2160590"/>
          </a:xfrm>
          <a:prstGeom prst="cube">
            <a:avLst>
              <a:gd name="adj" fmla="val 25000"/>
            </a:avLst>
          </a:prstGeom>
          <a:ln>
            <a:noFill/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2 546,7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5" name="AutoShape 8"/>
          <p:cNvSpPr>
            <a:spLocks noChangeArrowheads="1"/>
          </p:cNvSpPr>
          <p:nvPr/>
        </p:nvSpPr>
        <p:spPr bwMode="auto">
          <a:xfrm>
            <a:off x="3071811" y="3167050"/>
            <a:ext cx="1428760" cy="1714512"/>
          </a:xfrm>
          <a:prstGeom prst="cube">
            <a:avLst>
              <a:gd name="adj" fmla="val 25000"/>
            </a:avLst>
          </a:prstGeom>
          <a:ln>
            <a:noFill/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 718,4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7" name="AutoShape 9"/>
          <p:cNvSpPr>
            <a:spLocks noChangeArrowheads="1"/>
          </p:cNvSpPr>
          <p:nvPr/>
        </p:nvSpPr>
        <p:spPr bwMode="auto">
          <a:xfrm>
            <a:off x="5143512" y="3238488"/>
            <a:ext cx="1439862" cy="1577982"/>
          </a:xfrm>
          <a:prstGeom prst="cube">
            <a:avLst>
              <a:gd name="adj" fmla="val 25000"/>
            </a:avLst>
          </a:prstGeom>
          <a:ln>
            <a:noFill/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 403,4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8" name="AutoShape 10"/>
          <p:cNvSpPr>
            <a:spLocks noChangeArrowheads="1"/>
          </p:cNvSpPr>
          <p:nvPr/>
        </p:nvSpPr>
        <p:spPr bwMode="auto">
          <a:xfrm>
            <a:off x="714356" y="5167316"/>
            <a:ext cx="1428759" cy="714380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2">
              <a:shade val="50000"/>
            </a:schemeClr>
          </a:lnRef>
          <a:fillRef idx="1002">
            <a:schemeClr val="dk1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18,1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9" name="AutoShape 11"/>
          <p:cNvSpPr>
            <a:spLocks noChangeArrowheads="1"/>
          </p:cNvSpPr>
          <p:nvPr/>
        </p:nvSpPr>
        <p:spPr bwMode="auto">
          <a:xfrm>
            <a:off x="3000372" y="5310189"/>
            <a:ext cx="1357322" cy="571506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18,7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0" name="AutoShape 12"/>
          <p:cNvSpPr>
            <a:spLocks noChangeArrowheads="1"/>
          </p:cNvSpPr>
          <p:nvPr/>
        </p:nvSpPr>
        <p:spPr bwMode="auto">
          <a:xfrm>
            <a:off x="5286389" y="5167314"/>
            <a:ext cx="1214446" cy="647700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b="1" dirty="0" smtClean="0">
                <a:solidFill>
                  <a:schemeClr val="tx1"/>
                </a:solidFill>
                <a:latin typeface="Arial" pitchFamily="34" charset="0"/>
              </a:rPr>
              <a:t>124,1</a:t>
            </a:r>
            <a:endParaRPr lang="ru-RU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1" name="AutoShape 15"/>
          <p:cNvSpPr>
            <a:spLocks/>
          </p:cNvSpPr>
          <p:nvPr/>
        </p:nvSpPr>
        <p:spPr bwMode="auto">
          <a:xfrm>
            <a:off x="571481" y="3881430"/>
            <a:ext cx="71437" cy="465892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2" name="Text Box 16"/>
          <p:cNvSpPr txBox="1">
            <a:spLocks noChangeArrowheads="1"/>
          </p:cNvSpPr>
          <p:nvPr/>
        </p:nvSpPr>
        <p:spPr bwMode="auto">
          <a:xfrm>
            <a:off x="1" y="3738555"/>
            <a:ext cx="430887" cy="7143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5,6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3" name="Text Box 17"/>
          <p:cNvSpPr txBox="1">
            <a:spLocks noChangeArrowheads="1"/>
          </p:cNvSpPr>
          <p:nvPr/>
        </p:nvSpPr>
        <p:spPr bwMode="auto">
          <a:xfrm>
            <a:off x="69155" y="5303847"/>
            <a:ext cx="430887" cy="7921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4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4" name="Text Box 18"/>
          <p:cNvSpPr txBox="1">
            <a:spLocks noChangeArrowheads="1"/>
          </p:cNvSpPr>
          <p:nvPr/>
        </p:nvSpPr>
        <p:spPr bwMode="auto">
          <a:xfrm>
            <a:off x="2428868" y="3738555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2,3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5" name="Text Box 19"/>
          <p:cNvSpPr txBox="1">
            <a:spLocks noChangeArrowheads="1"/>
          </p:cNvSpPr>
          <p:nvPr/>
        </p:nvSpPr>
        <p:spPr bwMode="auto">
          <a:xfrm>
            <a:off x="2285993" y="5453067"/>
            <a:ext cx="430887" cy="563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6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6" name="Text Box 21"/>
          <p:cNvSpPr txBox="1">
            <a:spLocks noChangeArrowheads="1"/>
          </p:cNvSpPr>
          <p:nvPr/>
        </p:nvSpPr>
        <p:spPr bwMode="auto">
          <a:xfrm>
            <a:off x="4532477" y="3881431"/>
            <a:ext cx="430887" cy="7143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9,2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7" name="Text Box 22"/>
          <p:cNvSpPr txBox="1">
            <a:spLocks noChangeArrowheads="1"/>
          </p:cNvSpPr>
          <p:nvPr/>
        </p:nvSpPr>
        <p:spPr bwMode="auto">
          <a:xfrm>
            <a:off x="4500572" y="5238757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7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58" name="AutoShape 24"/>
          <p:cNvSpPr>
            <a:spLocks/>
          </p:cNvSpPr>
          <p:nvPr/>
        </p:nvSpPr>
        <p:spPr bwMode="auto">
          <a:xfrm>
            <a:off x="500042" y="5381629"/>
            <a:ext cx="142875" cy="434935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59" name="AutoShape 25"/>
          <p:cNvSpPr>
            <a:spLocks/>
          </p:cNvSpPr>
          <p:nvPr/>
        </p:nvSpPr>
        <p:spPr bwMode="auto">
          <a:xfrm>
            <a:off x="5000637" y="4024306"/>
            <a:ext cx="71437" cy="46589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1" name="AutoShape 26"/>
          <p:cNvSpPr>
            <a:spLocks/>
          </p:cNvSpPr>
          <p:nvPr/>
        </p:nvSpPr>
        <p:spPr bwMode="auto">
          <a:xfrm>
            <a:off x="2786058" y="5453068"/>
            <a:ext cx="144462" cy="431066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2" name="AutoShape 28"/>
          <p:cNvSpPr>
            <a:spLocks noChangeArrowheads="1"/>
          </p:cNvSpPr>
          <p:nvPr/>
        </p:nvSpPr>
        <p:spPr bwMode="auto">
          <a:xfrm>
            <a:off x="500076" y="7453336"/>
            <a:ext cx="719137" cy="503237"/>
          </a:xfrm>
          <a:prstGeom prst="cube">
            <a:avLst>
              <a:gd name="adj" fmla="val 25000"/>
            </a:avLst>
          </a:prstGeom>
          <a:solidFill>
            <a:schemeClr val="accent1"/>
          </a:solidFill>
          <a:ln>
            <a:solidFill>
              <a:schemeClr val="accent1"/>
            </a:solidFill>
            <a:headEnd/>
            <a:tailEnd/>
          </a:ln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3" name="Содержимое 5"/>
          <p:cNvSpPr>
            <a:spLocks/>
          </p:cNvSpPr>
          <p:nvPr/>
        </p:nvSpPr>
        <p:spPr bwMode="auto">
          <a:xfrm>
            <a:off x="1357301" y="7524768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64" name="AutoShape 30"/>
          <p:cNvSpPr>
            <a:spLocks noChangeArrowheads="1"/>
          </p:cNvSpPr>
          <p:nvPr/>
        </p:nvSpPr>
        <p:spPr bwMode="auto">
          <a:xfrm>
            <a:off x="500045" y="8239147"/>
            <a:ext cx="720725" cy="500067"/>
          </a:xfrm>
          <a:prstGeom prst="cube">
            <a:avLst>
              <a:gd name="adj" fmla="val 25000"/>
            </a:avLst>
          </a:prstGeom>
          <a:solidFill>
            <a:srgbClr val="6699FF"/>
          </a:solidFill>
          <a:ln>
            <a:noFill/>
            <a:headEnd/>
            <a:tailEnd/>
          </a:ln>
          <a:effectLst>
            <a:glow rad="228600">
              <a:schemeClr val="accent2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65" name="AutoShape 31"/>
          <p:cNvSpPr>
            <a:spLocks/>
          </p:cNvSpPr>
          <p:nvPr/>
        </p:nvSpPr>
        <p:spPr bwMode="auto">
          <a:xfrm>
            <a:off x="2857496" y="3881430"/>
            <a:ext cx="144462" cy="465892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6" name="AutoShape 32"/>
          <p:cNvSpPr>
            <a:spLocks/>
          </p:cNvSpPr>
          <p:nvPr/>
        </p:nvSpPr>
        <p:spPr bwMode="auto">
          <a:xfrm>
            <a:off x="5000636" y="5310192"/>
            <a:ext cx="144462" cy="431066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67" name="Содержимое 5"/>
          <p:cNvSpPr>
            <a:spLocks/>
          </p:cNvSpPr>
          <p:nvPr/>
        </p:nvSpPr>
        <p:spPr bwMode="auto">
          <a:xfrm>
            <a:off x="1357298" y="8310586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68" name="AutoShape 10"/>
          <p:cNvSpPr>
            <a:spLocks noChangeArrowheads="1"/>
          </p:cNvSpPr>
          <p:nvPr/>
        </p:nvSpPr>
        <p:spPr bwMode="auto">
          <a:xfrm>
            <a:off x="3071810" y="6310323"/>
            <a:ext cx="1214446" cy="428627"/>
          </a:xfrm>
          <a:prstGeom prst="cube">
            <a:avLst>
              <a:gd name="adj" fmla="val 25000"/>
            </a:avLst>
          </a:prstGeom>
          <a:ln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</a:rPr>
              <a:t>23,7</a:t>
            </a:r>
            <a:endParaRPr lang="ru-RU" sz="18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9" name="Text Box 19"/>
          <p:cNvSpPr txBox="1">
            <a:spLocks noChangeArrowheads="1"/>
          </p:cNvSpPr>
          <p:nvPr/>
        </p:nvSpPr>
        <p:spPr bwMode="auto">
          <a:xfrm>
            <a:off x="2285993" y="6238885"/>
            <a:ext cx="430887" cy="5715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3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0" name="AutoShape 10"/>
          <p:cNvSpPr>
            <a:spLocks noChangeArrowheads="1"/>
          </p:cNvSpPr>
          <p:nvPr/>
        </p:nvSpPr>
        <p:spPr bwMode="auto">
          <a:xfrm>
            <a:off x="5357827" y="6096010"/>
            <a:ext cx="1143008" cy="642941"/>
          </a:xfrm>
          <a:prstGeom prst="cube">
            <a:avLst>
              <a:gd name="adj" fmla="val 25000"/>
            </a:avLst>
          </a:prstGeom>
          <a:ln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</a:rPr>
              <a:t>46,5</a:t>
            </a:r>
            <a:endParaRPr lang="ru-RU" sz="1800" b="1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1" name="AutoShape 26"/>
          <p:cNvSpPr>
            <a:spLocks/>
          </p:cNvSpPr>
          <p:nvPr/>
        </p:nvSpPr>
        <p:spPr bwMode="auto">
          <a:xfrm>
            <a:off x="2928934" y="6310322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2" name="AutoShape 26"/>
          <p:cNvSpPr>
            <a:spLocks/>
          </p:cNvSpPr>
          <p:nvPr/>
        </p:nvSpPr>
        <p:spPr bwMode="auto">
          <a:xfrm>
            <a:off x="5143513" y="6310322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73" name="Text Box 19"/>
          <p:cNvSpPr txBox="1">
            <a:spLocks noChangeArrowheads="1"/>
          </p:cNvSpPr>
          <p:nvPr/>
        </p:nvSpPr>
        <p:spPr bwMode="auto">
          <a:xfrm>
            <a:off x="4500571" y="6167448"/>
            <a:ext cx="430887" cy="5715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2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74" name="AutoShape 28"/>
          <p:cNvSpPr>
            <a:spLocks noChangeArrowheads="1"/>
          </p:cNvSpPr>
          <p:nvPr/>
        </p:nvSpPr>
        <p:spPr bwMode="auto">
          <a:xfrm>
            <a:off x="500045" y="8953527"/>
            <a:ext cx="719137" cy="500067"/>
          </a:xfrm>
          <a:prstGeom prst="cube">
            <a:avLst>
              <a:gd name="adj" fmla="val 25000"/>
            </a:avLst>
          </a:prstGeom>
          <a:ln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75" name="Содержимое 5"/>
          <p:cNvSpPr>
            <a:spLocks/>
          </p:cNvSpPr>
          <p:nvPr/>
        </p:nvSpPr>
        <p:spPr bwMode="auto">
          <a:xfrm>
            <a:off x="1428737" y="9024967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102391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t"/>
          <a:lstStyle/>
          <a:p>
            <a:pPr algn="ctr">
              <a:lnSpc>
                <a:spcPct val="2000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</a:t>
            </a:r>
            <a:r>
              <a:rPr lang="ru-RU" b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24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</a:t>
            </a: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lnSpc>
                <a:spcPct val="200000"/>
              </a:lnSpc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2000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0" y="1023911"/>
          <a:ext cx="6858000" cy="8882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1"/>
            <a:ext cx="6858000" cy="1002509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в разрезе муниципальных программ на 2024 год и плановый период 2025 и 2026 годов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85729" y="1666852"/>
          <a:ext cx="6286545" cy="7874382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928825"/>
                <a:gridCol w="642942"/>
                <a:gridCol w="644549"/>
                <a:gridCol w="655128"/>
                <a:gridCol w="552023"/>
                <a:gridCol w="498531"/>
                <a:gridCol w="682273"/>
                <a:gridCol w="682274"/>
              </a:tblGrid>
              <a:tr h="164056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Наименование муниципальной программы 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5 год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1200" u="none" strike="noStrike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26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д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Отклонение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7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(+/-) 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1646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образования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83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42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41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55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47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549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Социальная поддержка населения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9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6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0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6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5493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Управление имуществом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1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6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52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физической культуры и спорта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9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1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7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603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  <a:endParaRPr lang="ru-RU" sz="1000" b="0" i="0" u="none" strike="noStrike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8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,6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8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8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Культура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3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0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1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экономики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жилищно-коммунального хозяйства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9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5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3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1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6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603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,8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87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62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57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70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94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Создание условий безопасной жизни населения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3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3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3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0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56,5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13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Открытость и эффективность работы администрации города-курорта Железноводска Ставропольского края»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2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2,2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9,3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2,9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3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377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Молодежь города-курорта Железноводска Ставропольского края»</a:t>
                      </a:r>
                      <a:endParaRPr lang="ru-RU" sz="1000" b="0" i="0" u="none" strike="noStrike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4954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"Формирование современной городской среды"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1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41,7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0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0409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равление финансами в городе-курорте Железноводске 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8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8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8,4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7101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endParaRPr lang="ru-RU" sz="1000" u="none" strike="noStrike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 fontAlgn="t">
                        <a:lnSpc>
                          <a:spcPct val="150000"/>
                        </a:lnSpc>
                      </a:pP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того: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46,6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18,4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828,2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905,8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03,4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315,0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168,1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5357826" y="1095348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 smtClean="0"/>
              <a:t>млн.рублей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1"/>
            <a:ext cx="6858000" cy="1073947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– это выплачиваемые из бюджета денежные средства, которые направляются на финансовое обеспечение задач и функций государственной власти и органов местного самоуправления. </a:t>
            </a:r>
          </a:p>
          <a:p>
            <a:pPr indent="450850"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города Железноводска могут быть детализированы: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отрасл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муниципальным программам и непрограммным направлениям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 главным распорядителям бюджетных средств;</a:t>
            </a:r>
          </a:p>
          <a:p>
            <a:pPr indent="450850" algn="just">
              <a:buFont typeface="Arial" charset="0"/>
              <a:buChar char="•"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видам расходов.</a:t>
            </a: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ефицит бюджета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превышения расходов бюджета над его доходами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фицит бюджета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ревышение доходов бюджета над его расходами;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униципальный долг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indent="450850" algn="just">
              <a:buFont typeface="Arial" charset="0"/>
              <a:buChar char="•"/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0850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buClr>
                <a:srgbClr val="ED520D"/>
              </a:buClr>
            </a:pP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14488" y="3595678"/>
            <a:ext cx="3643338" cy="50006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857232" y="4238620"/>
            <a:ext cx="5357829" cy="50006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857232" y="5738818"/>
            <a:ext cx="5357849" cy="57150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857364" y="6524636"/>
            <a:ext cx="3643337" cy="500067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3820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10453725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</a:t>
            </a:r>
          </a:p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вропольского края»</a:t>
            </a:r>
          </a:p>
          <a:p>
            <a:pPr algn="just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доступности и качества образования в городе-курорте Железноводске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, обеспечивающих предоставление доступного и качественного образования в общеобразовательных учреждениях, дошкольных образовательных учреждениях, учреждениях дополнительного образования.</a:t>
            </a:r>
          </a:p>
          <a:p>
            <a:pPr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образования администрации города-курорта Железноводска Ставропольского края</a:t>
            </a:r>
          </a:p>
          <a:p>
            <a:pPr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42852" y="3667113"/>
          <a:ext cx="6572295" cy="5572167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08FB837D-C827-4EFA-A057-4D05807E0F7C}</a:tableStyleId>
              </a:tblPr>
              <a:tblGrid>
                <a:gridCol w="4257057"/>
                <a:gridCol w="448109"/>
                <a:gridCol w="522796"/>
                <a:gridCol w="448111"/>
                <a:gridCol w="448111"/>
                <a:gridCol w="448111"/>
              </a:tblGrid>
              <a:tr h="3017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17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год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7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630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7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7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7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630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,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,9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,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,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481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 в рамках формирования развития дошкольного, общего и дополнительного образования в городе Железноводске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5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5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6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6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82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83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66,83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7052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25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19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1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18</a:t>
                      </a:r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45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,9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,9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,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,9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циальная поддержка населения в городе-курорте Железноводске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действие в обеспечении устойчивого роста уровня и качества жизни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формирования доступной среды жизнедеятельности для инвалидов и других маломобильных групп населени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деятельности в сфере развития социальной защиты населения города-курорта Железноводска Ставропольского края;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ая поддержка детей-сирот и детей, оставшихся без попечения родителей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труда и социальной защиты населения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25" y="4167181"/>
          <a:ext cx="6357984" cy="5072099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3C2FFA5D-87B4-456A-9821-1D502468CF0F}</a:tableStyleId>
              </a:tblPr>
              <a:tblGrid>
                <a:gridCol w="3258537"/>
                <a:gridCol w="765503"/>
                <a:gridCol w="563366"/>
                <a:gridCol w="643846"/>
                <a:gridCol w="563366"/>
                <a:gridCol w="563366"/>
              </a:tblGrid>
              <a:tr h="37449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44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г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г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г.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5390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80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нуждающихся семей , получивших ежемесячные выплаты в связи с рождением  (усыновлением) первого ребенка</a:t>
                      </a: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927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1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доступных для инвалидов и других маломобильных групп населения приоритетных объектов социальной, транспортной, инженерной инфраструктуры в общем количестве приоритетных объек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3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реконструированных учреждений куль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1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267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воспитывающихся в замещающих семья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3287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детей, нуждающихся в определении в семь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Управление имуществом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развитие и совершенствование имущественных и земельных отношений в городе-курорте Железноводске Ставропольского края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создание условий для осуществления управления муниципальным имуществом и нормативно-правового регулирования в сфере имущественных   и    земельных       отношений.</a:t>
            </a: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имущественных отношений администрации города-курорта Железноводска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16632" y="3008781"/>
          <a:ext cx="6552727" cy="6624744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888431"/>
                <a:gridCol w="432048"/>
                <a:gridCol w="576064"/>
                <a:gridCol w="504056"/>
                <a:gridCol w="648072"/>
                <a:gridCol w="504056"/>
              </a:tblGrid>
              <a:tr h="33377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77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50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50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50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емельных участков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50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50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035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2851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площади земельных участков, являющихся объектами налогообложения земельным налогом, в общей площади муниципального образования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2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2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2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,2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50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олнение плановых назначений по площади земельных участков, предоставленных для строительства в расчете на 10 тыс. человек населения: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9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9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9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9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50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 том числе земельных участков, предоставляемых для жилищного строительства, индивидуального строительства и комплексного освоения в целях жилищного  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8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8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8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8</a:t>
                      </a:r>
                      <a:endParaRPr lang="ru-RU" sz="11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50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многоквартирных домов, расположенных на земельных участках, в отношении которых осуществлен государственный кадастровый уче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792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цент разработанных и утвержденных муниципальных   нормативных правовых актов города-курорта Железноводска  Ставропольского края в соответствии с планом   работы   управления   имущественных   отношений администрации города-курорта     Железноводска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66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50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физической культуры и спорта города-курорта Железноводска Ставропольского края»</a:t>
            </a:r>
          </a:p>
          <a:p>
            <a:pPr algn="ctr">
              <a:lnSpc>
                <a:spcPts val="2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24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>
              <a:buFontTx/>
              <a:buChar char="-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условий для занятий физической культурой и спортом и приобщения всех слоев населения города-курорта Железноводска Ставропольского края к систематическим занятиям физической культурой и спортом, в том числе и профессиональным спортом.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изация, проведение и участие в спортивно-массовых мероприятиях.</a:t>
            </a:r>
          </a:p>
          <a:p>
            <a:pPr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ение управленческой деятельности в сфере физической культуры и спорта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>
              <a:buFontTx/>
              <a:buChar char="-"/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митет по физической культуре, спорту и туризму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428604" y="3667116"/>
          <a:ext cx="6000792" cy="5780479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35758FB7-9AC5-4552-8A53-C91805E547FA}</a:tableStyleId>
              </a:tblPr>
              <a:tblGrid>
                <a:gridCol w="3071834"/>
                <a:gridCol w="714380"/>
                <a:gridCol w="500066"/>
                <a:gridCol w="571504"/>
                <a:gridCol w="571504"/>
                <a:gridCol w="571504"/>
              </a:tblGrid>
              <a:tr h="17269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6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5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026 г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8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1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5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5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8369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спортивного резерва и команд в городе-курорте Железноводске Ставропольского края, в том числе среди инвалид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2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2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0</a:t>
                      </a: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2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2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 на 10тыс. населения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799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портивно-массовых мероприятий, участие в краевых и всероссийских меро­приятиях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901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енность спортсменов, получивших спор­тивный разряд на ко­личество населения, занимающихся спорто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5</a:t>
                      </a: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1736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и проведения спортивно-массовых мероприятий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8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городских меро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8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всероссийских и краевых меро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участник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9779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от общего числа инвалид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5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устойчивого развития города-курорта Железноводска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ие долгосрочной и гарантированной системы поддержки молодых семей в решении жилищной проблемы с целью улучшения демографической ситуации в городе-курорте Железноводске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вершенствование организационных и нормативно-правовых механизмов в сфере градостроительства.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 архитектуры и градостроительства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3309926"/>
          <a:ext cx="6143668" cy="641649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357454"/>
                <a:gridCol w="785818"/>
                <a:gridCol w="785818"/>
                <a:gridCol w="714380"/>
                <a:gridCol w="714380"/>
                <a:gridCol w="785818"/>
              </a:tblGrid>
              <a:tr h="27754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измере-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72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г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4270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Arial Unicode MS"/>
                          <a:cs typeface="Times New Roman"/>
                        </a:rPr>
                        <a:t>Количество разработанной градостроительной документации на территории муниципального образования города-курорта Железноводска Ставропольского края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9985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Arial Unicode MS"/>
                          <a:cs typeface="Times New Roman"/>
                        </a:rPr>
                        <a:t>Общая площадь жилых помещений, веденных в эксплуатацию за 1 год, на 1 жителя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в.м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3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3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3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3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70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орректировка генерального плана городского округа города-курорта Железноводска Ставропольского 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края 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 Правил землепользования и застройки города-курорта 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70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разработанных и утвержденных проектов планировки территории, схем планировочной организации земельных участков</a:t>
                      </a:r>
                      <a:endParaRPr lang="ru-RU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570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 разработанных и утвержденных нормативных правовых актов в сфере градостроительной деятельности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92838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сотрудников управления архитектуры и градостроительства администрации города-курорта Железноводска Ставропольского края, повысивших квалификацию в области градостроительной деятельности</a:t>
                      </a:r>
                      <a:endParaRPr lang="ru-RU" sz="9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2333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Количество оцифрованных архивных топографических материалов (планшетов М 1:500)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7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9218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Процент исполнения плана проверок при реализации внутриведомственного контроля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9631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 своевременно представленной отраслевыми (функциональными) органами администрации </a:t>
                      </a:r>
                      <a:r>
                        <a:rPr lang="ru-RU" sz="900">
                          <a:latin typeface="Times New Roman"/>
                          <a:ea typeface="Arial Unicode MS"/>
                          <a:cs typeface="Times New Roman"/>
                        </a:rPr>
                        <a:t>города-курорта Железноводска Ставропольского края отчетности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оцент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Культура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en-US" sz="1200" dirty="0" smtClean="0">
                <a:solidFill>
                  <a:schemeClr val="tx1"/>
                </a:solidFill>
              </a:rPr>
              <a:t>- </a:t>
            </a:r>
            <a:r>
              <a:rPr lang="ru-RU" sz="1200" dirty="0" smtClean="0">
                <a:solidFill>
                  <a:schemeClr val="tx1"/>
                </a:solidFill>
              </a:rPr>
              <a:t>сохранение и развитие культуры города-курорта Железноводска Ставропольского края;</a:t>
            </a:r>
          </a:p>
          <a:p>
            <a:pPr algn="just"/>
            <a:r>
              <a:rPr lang="en-US" sz="1200" dirty="0" smtClean="0">
                <a:solidFill>
                  <a:schemeClr val="tx1"/>
                </a:solidFill>
              </a:rPr>
              <a:t>- </a:t>
            </a:r>
            <a:r>
              <a:rPr lang="ru-RU" sz="1200" dirty="0" smtClean="0">
                <a:solidFill>
                  <a:schemeClr val="tx1"/>
                </a:solidFill>
              </a:rPr>
              <a:t>создание условий для обеспечения свободного доступа населения города-курорта Железноводска Ставропольского края к информации и культурным ценностям;</a:t>
            </a:r>
          </a:p>
          <a:p>
            <a:pPr algn="just"/>
            <a:r>
              <a:rPr lang="en-US" sz="1200" dirty="0" smtClean="0">
                <a:solidFill>
                  <a:schemeClr val="tx1"/>
                </a:solidFill>
              </a:rPr>
              <a:t>- </a:t>
            </a:r>
            <a:r>
              <a:rPr lang="ru-RU" sz="1200" dirty="0" smtClean="0">
                <a:solidFill>
                  <a:schemeClr val="tx1"/>
                </a:solidFill>
              </a:rPr>
              <a:t>обеспечение безопасных и благоприятных условий для проведения общегородских мероприятий. 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культуры администрации города-курорта Железноводска Ставропольского края</a:t>
            </a: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14290" y="3952868"/>
          <a:ext cx="6429420" cy="4214840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  <a:tableStyleId>{69C7853C-536D-4A76-A0AE-DD22124D55A5}</a:tableStyleId>
              </a:tblPr>
              <a:tblGrid>
                <a:gridCol w="2691386"/>
                <a:gridCol w="971890"/>
                <a:gridCol w="747606"/>
                <a:gridCol w="672846"/>
                <a:gridCol w="672846"/>
                <a:gridCol w="672846"/>
              </a:tblGrid>
              <a:tr h="20057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55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83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83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768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человек, принявших участие в культурно-массовых мероприятия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че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5,4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7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7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8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29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пользователей централизованной библиотечной систе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06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экземпляров библиотечного фонда в централизованной библиотечной систем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экземпляр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2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3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4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5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29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сещений централизованной библиотечной систе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5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5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877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новых поступлений в библиотечный фон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4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96" y="873921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е благоприятных условий для развития малого и среднего  предпринимательства в городе-курорте Железноводске 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е для населения города-курорта Железноводска Ставропольского края доступности потребительского рынка, формирование благоприятных возможностей для товаропроизводителей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устойчивое развитие конкурентоспособной санаторно-курортной и туристско-рекреационной сферы в городе-курорте Железноводске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едупреждение и профилактика производственного травматизма, сохранение жизни и здоровья человека в процессе труда, разработка комплекса мер по усилению профилактической работы по охране труда.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я города–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endParaRPr lang="en-US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57166" y="3990451"/>
          <a:ext cx="6357983" cy="5788472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643339"/>
                <a:gridCol w="642942"/>
                <a:gridCol w="500066"/>
                <a:gridCol w="500066"/>
                <a:gridCol w="571504"/>
                <a:gridCol w="500066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83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6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05,5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05,8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05,8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06,03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57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исленность занятых в сфере малого и среднего предпринимательства, включая индивидуальных предпринимателей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еловек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 27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 68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 78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 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982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47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убъектов малого и среднего предпринимательств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 92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 95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3 95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 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309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911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4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4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4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4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65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703,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711,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721,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728,3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361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в. 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801,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6</a:t>
                      </a: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37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802,0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88</a:t>
                      </a: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3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solidFill>
                          <a:srgbClr val="0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02,0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solidFill>
                          <a:srgbClr val="0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15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9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68579" marB="68579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031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Темп роста объема бытовых услуг к предыдущему году в действующих ценах</a:t>
                      </a: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03,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03,8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03,8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04,2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031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Темп роста оборота общественного питания к предыдущему году в действующих ценах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1,5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2,1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2,1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02,9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08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ндекс  оборота розничной торговли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6,4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06,7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6,7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7,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2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 чел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36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41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88,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69,8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57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величение количества койко-мест в коллективных средствах размещения города-курорта Железноводска Ставропольского края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7 1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7 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7 33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 </a:t>
                      </a: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42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307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 34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 47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 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62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4 </a:t>
                      </a: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90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76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организаций, участвующих в проведении мониторинга условий и охраны труда</a:t>
                      </a: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41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416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416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416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75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специалистов, прошедших обучение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2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2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2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29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01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участников ежегодного городского конкурса на лучшую организацию работы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рганизация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142852" y="0"/>
            <a:ext cx="6715148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уровня комплексного благоустройства территории города-курорта Железноводска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формирование в городе-курорте Железноводске Ставропольского края условий для повышения эффективности использования энергетических ресурсов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оздание условий для осуществления управления городским хозяйством и нормативно-правового регулирования в сфере жилищно-коммунального хозяйства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вышение эффективности использования, охраны, защиты и воспроизводства лесов, расположенных на землях лесного фонда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 городского хозяйства администрации города-курорта Железноводска Ставропольского края</a:t>
            </a:r>
            <a:endParaRPr lang="en-US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2852" y="3667116"/>
          <a:ext cx="6715149" cy="608993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379881"/>
                <a:gridCol w="408671"/>
                <a:gridCol w="525434"/>
                <a:gridCol w="467061"/>
                <a:gridCol w="467051"/>
                <a:gridCol w="467051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70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652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благоустроенной территории муниципального образования, на которой проводятся мероприятия по благоустройств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013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благоустройства территории муниципального образования города-курорта Железноводска Ставропольского края</a:t>
                      </a: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убль</a:t>
                      </a: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5</a:t>
                      </a: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кращение количества обращений граждан по вопросам благоустройства территории муниципального образования города-курорта Железноводска Ставропольского края</a:t>
                      </a: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786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ротяженность сетей водоотведения на территории </a:t>
                      </a:r>
                      <a:r>
                        <a:rPr kumimoji="0" lang="ru-RU" sz="9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униципального образования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города-курорта </a:t>
                      </a: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Железноводска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2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3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4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7,45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ой территории Курортн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тыс. кв.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1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8,2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лощадь благоустроенной территории городского парка имени С.С. Говорухина города-курорта Железноводска Ставропольского края, на которой проводятся мероприятия по благоустройству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тыс. кв.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</a:t>
                      </a: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5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6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 762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024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благоустроенных территорий муниципального образования, на которых проводятся мероприятия по благоустройству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тыс. кв.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216,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217,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217,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217,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57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обращений граждан по вопросам благоустройства территории муниципального образования города-курорта Железноводска Ставропольского края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58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5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30</a:t>
                      </a:r>
                      <a:endParaRPr lang="ru-RU" sz="9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2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1484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Площадь улиц и проездов, находящихся на территории муниципального образования, обеспеченных освещение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 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</a:t>
                      </a: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, 9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940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Общая площадь улиц и проездов, находящихся на территории муниципального образовани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кв.к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2 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,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Сокращение потребления электрической энергии на 1 кв. метр освещаемой территории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кВт/ч/кв.м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314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доли образовательных организаций со стопроцентной заменой оконных блоков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379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оля организаций коммунального комплекса, осуществляющих производство товаров, оказание услуг по </a:t>
                      </a:r>
                      <a:r>
                        <a:rPr kumimoji="0" lang="ru-RU" sz="900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одо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-, тепло-, </a:t>
                      </a:r>
                      <a:r>
                        <a:rPr kumimoji="0" lang="ru-RU" sz="900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газо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- и электроснабжению, водоотведению, очистке сточных вод, утилизации (захоронению) твердых бытовых отходов и использующих объекты коммунальной инфраструктуры на праве частной собственности, по договору аренды или концессии, участие субъекта Российской Федерации и (или) городского округа в уставном капитале которых составляет не более 25 процентов, в общем числе организаций коммунального комплекса, осуществляющих свою деятельность на  территории муниципального образования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83,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83,5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84,0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84,50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142852" y="0"/>
            <a:ext cx="6715148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2851" y="1523976"/>
          <a:ext cx="6715149" cy="698134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379881"/>
                <a:gridCol w="408671"/>
                <a:gridCol w="525434"/>
                <a:gridCol w="467061"/>
                <a:gridCol w="467051"/>
                <a:gridCol w="467051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70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исленность уникальных пользователей цифровой платформы вовлечения граждан в решение вопросов городского развития</a:t>
                      </a: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ел.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 4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6 118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8 458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1 138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6529">
                <a:tc>
                  <a:txBody>
                    <a:bodyPr/>
                    <a:lstStyle/>
                    <a:p>
                      <a:pPr marL="0" algn="l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полнение инженерных изысканий и подготовка (приобретение) проектной документации на строительство (реконструкцию, техническое перевооружение) объектов капитального строительства</a:t>
                      </a: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шт.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0133">
                <a:tc>
                  <a:txBody>
                    <a:bodyPr/>
                    <a:lstStyle/>
                    <a:p>
                      <a:pPr marL="0" algn="l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оля многоквартирных домов, в которых собственники помещений выбрали и реализуют один из способов управления многоквартирными домами, в общем числе многоквартирных домов, в которых собственники помещений должны выбрать способ управления данными домами</a:t>
                      </a: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центов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установленных </a:t>
                      </a:r>
                      <a:r>
                        <a:rPr kumimoji="0" lang="ru-RU" sz="900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нергоэффективных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ветильников на улицах и проездах муниципального образования города-курорта Железноводска Ставропольского 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шт.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8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9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1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7862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установленных энергоэффективных светильников в административных зданиях муниципального образования города-курорта Железноводска Ставропольского края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шт.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 15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 18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 2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 4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6889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оличество потребляемой электрической энергии на 1 кв. метр освещаемой территории улиц и проездов, находящихся на территории муниципального образования города-курорта Железноводска Ставропольского края, в год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Вт/ч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,17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,17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,17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,17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дельная величина потребления энергетических ресурсов (электрическая и тепловая энергия, вода, природный газ) в многоквартирных домах (из расчета на </a:t>
                      </a:r>
                      <a:b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</a:b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 кв. метр общей площади и (или) на одного человека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97214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лектрическая энергия (на 1 проживающего)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Вт/ч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77,53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77,54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77,55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77,56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84158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тепловая энергия </a:t>
                      </a: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а 1 кв. метр общей площади)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Гкал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47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48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49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,15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73032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горячая вода (на 1 проживающего)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8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уб.м.</a:t>
                      </a: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1,16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1,17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1,18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1,19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428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холодная вода (на 1 проживающего)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8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уб.м.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5,4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5,41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5,42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5,43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4287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иродный газ (на 1 проживающего)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8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уб.м.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6,77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6,78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6,79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6,8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58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дельная величина потребления энергетических ресурсов (электрическая и тепловая энергия, вода, природный газ) в многоквартирных домах (из расчета на </a:t>
                      </a:r>
                      <a:b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</a:b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 кв. метр общей площади и (или) на одного человека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1482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лектрическая энергия (на 1 проживающего)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Вт/ч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1,09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1,1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1,11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1,12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326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тепловая энергия </a:t>
                      </a: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а 1 кв. метр общей площади)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Гкал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053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054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05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05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5040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горячая вода (на 1 проживающего)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8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уб.м.</a:t>
                      </a: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68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69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70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71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6819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холодная вода (на 1 проживающего)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8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уб.м.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74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7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76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0,77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Процент разработанных и утвержденных муниципальных нормативных правовых актов города-курорта Железноводска Ставропольского края в соответствии с законодательством Российской Федерации, законодательством Ставропольского края, в данной сфере деятельности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96801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Процент исполнения плана проверок при реализации внутриведомственного контроля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88937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оля площади погибших и поврежденных лесных насаждений с учетом проведенных мероприятий по защите леса в общей площади земель лесного фонда города-курорта Железноводска Ставропольского края, занятых лесными насаждениями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%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00550" algn="l"/>
                        </a:tabLs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7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00550" algn="l"/>
                        </a:tabLs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6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00550" algn="l"/>
                        </a:tabLs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0,005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00550" algn="l"/>
                        </a:tabLs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4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65054">
                <a:tc>
                  <a:txBody>
                    <a:bodyPr/>
                    <a:lstStyle/>
                    <a:p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лощадь погибших и поврежденных лесных насаждений с учетом проведенных мероприятий по защите леса в общей площади земель лесного фонда города-курорта Железноводска Ставропольского края, занятых лесными насаждениями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га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00550" algn="l"/>
                        </a:tabLs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3,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00550" algn="l"/>
                        </a:tabLs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20,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00550" algn="l"/>
                        </a:tabLs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19,00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00550" algn="l"/>
                        </a:tabLs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18,00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-119098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</a:p>
          <a:p>
            <a:pPr algn="ctr">
              <a:lnSpc>
                <a:spcPts val="1400"/>
              </a:lnSpc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витие транспортной системы и обеспечение безопасности дорожного движения в городе-курорте Железноводске Ставропольского края;</a:t>
            </a:r>
          </a:p>
          <a:p>
            <a:pPr indent="180000" algn="just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беспечение санитарно-эпидемиологического благополучия на территории города-курорта Железноводска Ставропольского края.</a:t>
            </a:r>
          </a:p>
          <a:p>
            <a:pPr algn="just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180000" algn="just">
              <a:lnSpc>
                <a:spcPts val="15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indent="360363" algn="ctr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90" y="3095612"/>
          <a:ext cx="6500858" cy="5648667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4284781"/>
                <a:gridCol w="375990"/>
                <a:gridCol w="543216"/>
                <a:gridCol w="429698"/>
                <a:gridCol w="430919"/>
                <a:gridCol w="436254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-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5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61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тяженность автомобильных дорог общего пользования местного значения на территории муниципального образования города-курорта Железноводска Ставропольского края, соответствующих нормативным требованиям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35,1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37,3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40,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43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Доля автомобильных дорог общего пользования местного значения на территории муниципального образования  города-курорта Железноводска Ставропольского края, соответствующих нормативным требованиям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78,4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80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82,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83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кращение     количества    раненых   в дорожно-транспортных происшествиях, зарегистрированных на автомобильных дорогах     муниципального значения  в муниципальном образовании 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0,5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0,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9,8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9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кращение количества погибших в дорожно-транспортных происшествиях, зарегистрированных на автомобильных дорогах муниципального значения </a:t>
                      </a:r>
                      <a:b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</a:b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 муниципальном образовании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50,40</a:t>
                      </a:r>
                      <a:endParaRPr lang="ru-RU" sz="8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50,00</a:t>
                      </a:r>
                      <a:endParaRPr lang="ru-RU" sz="8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49,50</a:t>
                      </a:r>
                      <a:endParaRPr lang="ru-RU" sz="8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49,10</a:t>
                      </a:r>
                      <a:endParaRPr lang="ru-RU" sz="8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Определение участков автомобильных дорог общего пользования местного значения на территории муниципального образования города-курорта Железноводска Ставропольского края, которые должны быть приведены в нормативное состояние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км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4,6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4,2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3,8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2,5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Определение объектов улично-дорожной сети общего пользования местного значения на территории муниципального образования города-курорта Железноводска Ставропольского края, которые должны быть приведены в нормативное состояние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пог</a:t>
                      </a: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latin typeface="Times New Roman"/>
                          <a:ea typeface="Times New Roman"/>
                          <a:cs typeface="Times New Roman"/>
                        </a:rPr>
                        <a:t>м.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35,75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89,75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14,75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97,75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5484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Осуществление мероприятий по организации выполнения дорожных работ на автомобильных дорогах общего пользования местного значения на территории муниципального образования города-курорта Железноводска Ставропольского края, в целях приведения в нормативное состояние, снижения уровня перегрузки и ликвидации мест концентрации дорожно-транспортных происшествий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9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36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38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40,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45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03219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Процент автомобильных дорог общего пользования  местного значения и искусственных сооружений на них, прошедших паспортизацию объекта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00,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00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00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6348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Увеличение доли протяженности автомобильных дорог общего пользования местного значения в границах муниципального образования города-курорта Железноводска Ставропольского края и искусственных сооружений на них, приведенных в нормативное состояние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,5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,7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2,5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5449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недрение интеллектуальных транспортных систем, ориентированных на применение энергосберегающих технологий освещения автомобильных дорог и искусственных сооружений на них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,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00,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00,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00,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1471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Площадь территории муниципального образования города-курорта Железноводска Ставропольского края, на которой проводятся мероприятия по борьбе с воздействием опасных для экологии факторов  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кв. м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7 0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8 0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18 10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18 20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3836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2741">
                <a:tc>
                  <a:txBody>
                    <a:bodyPr/>
                    <a:lstStyle/>
                    <a:p>
                      <a:pPr algn="just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Ежегодная ликвидация стихийных свалок на территории муниципального образования города-курорта Железноводска  Ставропольского края</a:t>
                      </a:r>
                      <a:endParaRPr lang="ru-RU" sz="9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куб. 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м.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45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430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latin typeface="Times New Roman"/>
                          <a:ea typeface="Times New Roman"/>
                          <a:cs typeface="Times New Roman"/>
                        </a:rPr>
                        <a:t>425</a:t>
                      </a:r>
                      <a:endParaRPr lang="ru-RU" sz="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latin typeface="Times New Roman"/>
                          <a:ea typeface="Times New Roman"/>
                          <a:cs typeface="Times New Roman"/>
                        </a:rPr>
                        <a:t>415</a:t>
                      </a:r>
                      <a:endParaRPr lang="ru-RU" sz="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;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софинансирования расходных обязательств, возникающих при выполнении полномочий органов местного самоуправления по вопросам местного значения;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buClr>
                <a:srgbClr val="ED520D"/>
              </a:buClr>
              <a:buFont typeface="Wingdings" pitchFamily="2" charset="2"/>
              <a:buChar char="Ø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4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.</a:t>
            </a:r>
          </a:p>
          <a:p>
            <a:pPr algn="ctr">
              <a:lnSpc>
                <a:spcPct val="150000"/>
              </a:lnSpc>
              <a:defRPr/>
            </a:pPr>
            <a:endParaRPr lang="ru-RU" sz="2800" b="1" dirty="0"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142985" y="6453198"/>
            <a:ext cx="1428760" cy="2714644"/>
          </a:xfrm>
          <a:prstGeom prst="roundRect">
            <a:avLst>
              <a:gd name="adj" fmla="val 10513"/>
            </a:avLst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vert="vert270" anchor="ctr"/>
          <a:lstStyle/>
          <a:p>
            <a:pPr marL="0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БЮДЖЕТНЫЕ ТРАНСФЕРТ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714752" y="6738953"/>
            <a:ext cx="2571768" cy="57150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714752" y="7524772"/>
            <a:ext cx="2571792" cy="571505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СИД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714752" y="8310598"/>
            <a:ext cx="2571768" cy="571492"/>
          </a:xfrm>
          <a:prstGeom prst="roundRect">
            <a:avLst/>
          </a:prstGeom>
          <a:ln/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ВЕНЦИИ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2714620" y="6810392"/>
            <a:ext cx="857256" cy="35718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714620" y="7596210"/>
            <a:ext cx="857256" cy="35718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Стрелка вправо 12"/>
          <p:cNvSpPr/>
          <p:nvPr/>
        </p:nvSpPr>
        <p:spPr>
          <a:xfrm>
            <a:off x="2714620" y="8382028"/>
            <a:ext cx="857256" cy="357189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безопасности населения, защита жизни и здоровья граждан, их прав и свобод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профилактика правонарушений и преступлений на территории города-курорта Железноводска Ставропольского края;</a:t>
            </a:r>
          </a:p>
          <a:p>
            <a:pPr algn="just">
              <a:lnSpc>
                <a:spcPts val="12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- обеспечение условий для привлечения казаков к несению государственной и иной службы в  соответствии законодательства Российской Федерации и Ставропольского края.</a:t>
            </a:r>
          </a:p>
          <a:p>
            <a:pPr algn="just">
              <a:lnSpc>
                <a:spcPts val="1200"/>
              </a:lnSpc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профилактика террористических и экстремистских проявлений на </a:t>
            </a:r>
            <a:br>
              <a:rPr lang="ru-RU" sz="1000" dirty="0" smtClean="0">
                <a:solidFill>
                  <a:schemeClr val="tx1"/>
                </a:solidFill>
              </a:rPr>
            </a:br>
            <a:r>
              <a:rPr lang="ru-RU" sz="1000" dirty="0" smtClean="0">
                <a:solidFill>
                  <a:schemeClr val="tx1"/>
                </a:solidFill>
              </a:rPr>
              <a:t>территории города-курорта Железноводска Ставропольского края в рамках реализации государственной политики в Ставропольском крае противодействия терроризму и экстремизму, совершенствования системы муниципального  управления в кризисных ситуациях в городе курорте Железноводске Ставропольского края, совершенствование системы обеспечения безопасности населения города-курорта Железноводска Ставропольского края.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200"/>
              </a:lnSpc>
              <a:buFont typeface="Arial" charset="0"/>
              <a:buChar char="•"/>
            </a:pPr>
            <a:r>
              <a:rPr lang="ru-RU" sz="1000" dirty="0" smtClean="0">
                <a:solidFill>
                  <a:schemeClr val="tx1"/>
                </a:solidFill>
              </a:rPr>
              <a:t>Администрация города-курорта Железноводска Ставропольского края - отдел по мобилизационной подготовке и чрезвычайным ситуациям администрации города-курорта Железноводска Ставропольского края</a:t>
            </a:r>
          </a:p>
          <a:p>
            <a:pPr indent="360363" algn="just">
              <a:lnSpc>
                <a:spcPts val="1500"/>
              </a:lnSpc>
            </a:pPr>
            <a:endParaRPr lang="ru-RU" sz="1000" dirty="0" smtClean="0">
              <a:solidFill>
                <a:schemeClr val="tx1"/>
              </a:solidFill>
            </a:endParaRP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32656" y="4088903"/>
          <a:ext cx="6264696" cy="5384184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4006506"/>
                <a:gridCol w="655610"/>
                <a:gridCol w="437073"/>
                <a:gridCol w="364228"/>
                <a:gridCol w="390477"/>
                <a:gridCol w="410802"/>
              </a:tblGrid>
              <a:tr h="2138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68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495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антитеррористической защищенности объектов и мест с массовым пребыванием граждан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38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мероприятий по обеспечению безопасности города-курорта Железноводск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ль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535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535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</a:t>
                      </a: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</a:t>
                      </a: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409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вышение уровня взаимодействия экстренных оперативных служб города через единый номер 1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535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едение семинаров и совещаний, «круглых»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1579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влечение детей к участию  в деятельности патриотических объединени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051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мероприятий профилактической направленности в городе-курорте Железноводске Ставропольского кра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9473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доли проинформированных граждан города-курорта Железноводска Ставропольского края о способах и видах  мошеннических действий посредством распространения полиграфической продукции и публикации в социальной сети «Интернет»</a:t>
                      </a: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69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убликаций в средствах массовой информации по вопросам профилактике терроризма и экстремизм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5040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численности казаков, привлекаемых для участия в оказании содействия правоохранительным органам по охране общественного порядк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103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3572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влечение детей к проведению мероприятий, направленных на пропаганду казачьей истории (конкурс рисунков, конкурс на лучший реферат, конкурс на лучшее стихотворение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69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убликация в средствах массовой информации материалов посвященных казачеств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формирование высококвалифицированного кадрового состава муниципальной службы, обеспечивающего эффективность муниципального управления;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реализация антикоррупционной политики, внедрение в практику администрации, ее отраслевых (функциональных) органов профилактических мер, направленных на недопущение создания условий, порождающих коррупцию; </a:t>
            </a:r>
          </a:p>
          <a:p>
            <a:pPr algn="just"/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оптимизация и повышение качества предоставления государственных и муниципальных услуг в городе-курорте Железноводске Ставропольского края;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ация права жителей города на доступ к средствам массовой информации.</a:t>
            </a:r>
          </a:p>
          <a:p>
            <a:pPr algn="just"/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ция города-курорта Железноводска Ставропольского края</a:t>
            </a: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по обеспечению деятельности администрации города-курорта Железноводска Ставропольского края.</a:t>
            </a:r>
          </a:p>
          <a:p>
            <a:pPr indent="360363"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92" y="3800874"/>
          <a:ext cx="6357991" cy="543787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4533979"/>
                <a:gridCol w="499168"/>
                <a:gridCol w="331211"/>
                <a:gridCol w="331211"/>
                <a:gridCol w="331211"/>
                <a:gridCol w="331211"/>
              </a:tblGrid>
              <a:tr h="20546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     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м-е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31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757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581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897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114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шт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1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, изготовление и распространение печатной продукции антикоррупционного содержания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083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держание в актуальном состоянии раздела «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Антикоррупционная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деятельность»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тий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731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11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6431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45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аудиовизуальных материал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8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9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0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351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убликаций в общественно-политическом еженедельнике «Железноводские ведомости» о работе главы города-курорта Железноводска, администрации города-курорта Железноводска Ставропольского края, её отраслевых (функциональных) орган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chemeClr val="accent3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3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3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- создание условий для поддержки и развития молодежных инициатив, гражданского, патриотического и духовно-нравственного воспитания молодежи;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- профилактика безнадзорности, беспризорности и предупреждение правонарушений, совершаемых несовершеннолетними;</a:t>
            </a:r>
          </a:p>
          <a:p>
            <a:pPr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у жителей города-курорта Железноводска Ставропольского края установок и норм на здоровый образ жизни, негативного отношения к вредным привычкам (курение, алкоголь, наркомания)</a:t>
            </a:r>
          </a:p>
          <a:p>
            <a:pPr algn="just">
              <a:buFontTx/>
              <a:buChar char="-"/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управление культуры администрация города-курорта Железноводска Ставропольского края</a:t>
            </a:r>
          </a:p>
          <a:p>
            <a:pPr algn="just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28" y="4452934"/>
          <a:ext cx="6357983" cy="4409196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643337"/>
                <a:gridCol w="642942"/>
                <a:gridCol w="500066"/>
                <a:gridCol w="500066"/>
                <a:gridCol w="571504"/>
                <a:gridCol w="500068"/>
              </a:tblGrid>
              <a:tr h="2623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ница       изме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01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621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оприя-т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молодежи, задействованной в добровольческом (волонтерском) движении от общей численности молодежи города-курорта 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ы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3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6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9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99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9385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стоящих на учете в комиссии по делам несовершеннолетних и защите их прав администрации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144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несовершеннолетних, оказавшихся в трудной жизненной ситуации для предоставления адресной материальной помощ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7116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рофилактических мероприят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ер-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7066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3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4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230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b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7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8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9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416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н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уровня благоустройства нуждающихся в благоустройстве территорий города-курорта Железноводска Ставропольского края.</a:t>
            </a:r>
          </a:p>
          <a:p>
            <a:pPr algn="just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0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algn="ctr">
              <a:lnSpc>
                <a:spcPts val="10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е городского хозяйства администрации города-курорта Железноводска Ставропольского края</a:t>
            </a:r>
          </a:p>
          <a:p>
            <a:pPr algn="just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42850" y="3452806"/>
          <a:ext cx="6572310" cy="6125000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2974288"/>
                <a:gridCol w="495715"/>
                <a:gridCol w="557679"/>
                <a:gridCol w="557679"/>
                <a:gridCol w="495715"/>
                <a:gridCol w="495715"/>
                <a:gridCol w="495715"/>
                <a:gridCol w="499804"/>
              </a:tblGrid>
              <a:tr h="22013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и-ница изме-р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665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общественных территорий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4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27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34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4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45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2013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благоустроенных дворовых территорий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918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Количество граждан, вовлеченных в реализацию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мероприятий 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 благоустройству общественных и дворовых территорий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3 94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5 2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6 5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7 8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1 1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13 11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854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города-курорта Железноводска Ставропольского края в рамках формирования современной городской среды в городе-курорте Железноводске Ставропольского края (общественные территории)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руб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18,9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,3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0,6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18,06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1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68,0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Железноводске Ставропольского края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7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8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развития курортной инфраструктуры в городе-курорте Железноводске Ставропольского края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руб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53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903,96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,00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общественных </a:t>
                      </a: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территорий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3 6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4 9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6 55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3 44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1 11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6 4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величение количества благоустроенных общественных территорий в городе-курорте Железноводске Ставропольского края </a:t>
                      </a:r>
                      <a:endParaRPr kumimoji="0" lang="ru-RU" sz="9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+1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4667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Увеличение количества благоустроенных дворовых территорий в городе-курорте Железноводске Ставропольского края 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ед.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2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7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4671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Увеличение числа граждан, вовлеченных в реализацию мероприятий по благоустройству дворовых территорий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 pitchFamily="18" charset="0"/>
                          <a:cs typeface="Times New Roman" pitchFamily="18" charset="0"/>
                        </a:rPr>
                        <a:t>чел.</a:t>
                      </a:r>
                      <a:endParaRPr lang="ru-RU" sz="90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1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cs typeface="Times New Roman" pitchFamily="18" charset="0"/>
                        </a:rPr>
                        <a:t>+3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cs typeface="Times New Roman" pitchFamily="18" charset="0"/>
                        </a:rPr>
                        <a:t>+70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lnSpc>
                <a:spcPts val="1400"/>
              </a:lnSpc>
              <a:defRPr/>
            </a:pPr>
            <a:r>
              <a:rPr lang="ru-RU" dirty="0" smtClean="0">
                <a:solidFill>
                  <a:schemeClr val="tx1"/>
                </a:solidFill>
              </a:rPr>
              <a:t>Муниципальная программа города-курорта Железноводска Ставропольского края «Управление финансами в городе-курорте Железноводске Ставропольского края»</a:t>
            </a: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solidFill>
                  <a:schemeClr val="tx1"/>
                </a:solidFill>
              </a:rPr>
              <a:t>обеспечение долгосрочной сбалансированности и устойчивости бюджета города, </a:t>
            </a:r>
            <a:r>
              <a:rPr lang="ru-RU" sz="1200" dirty="0" smtClean="0">
                <a:solidFill>
                  <a:schemeClr val="tx1"/>
                </a:solidFill>
              </a:rPr>
              <a:t>повышение качества управления финансами</a:t>
            </a:r>
          </a:p>
          <a:p>
            <a:pPr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 осуществление управленческой деятельности в сфере управления финансами в городе-курорте Железноводске Ставропольского края.</a:t>
            </a:r>
          </a:p>
          <a:p>
            <a:pPr algn="ctr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ветственный исполнитель</a:t>
            </a:r>
          </a:p>
          <a:p>
            <a:pPr indent="360363" algn="just">
              <a:lnSpc>
                <a:spcPts val="1500"/>
              </a:lnSpc>
              <a:buFont typeface="Arial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инансовое управление администрации города-курорта Железноводска Ставропольского края </a:t>
            </a:r>
          </a:p>
          <a:p>
            <a:pPr indent="360363" algn="just">
              <a:lnSpc>
                <a:spcPts val="1500"/>
              </a:lnSpc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363" algn="ctr">
              <a:lnSpc>
                <a:spcPts val="15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целевые индикаторы программы</a:t>
            </a: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32656" y="3584848"/>
          <a:ext cx="6215105" cy="605966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601672"/>
                <a:gridCol w="939492"/>
                <a:gridCol w="722687"/>
                <a:gridCol w="650418"/>
                <a:gridCol w="650418"/>
                <a:gridCol w="650418"/>
              </a:tblGrid>
              <a:tr h="18344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34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Темп роста налоговых и неналоговых доходов бюджета города (в сопоставимых условиях) к предыдущему году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1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2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103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361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 покрытия расходов бюджета города собственными средствами без привлечения заемных средст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эффициен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7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8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ниже 0,9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36112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нижение объема недоимки по налогам и сборам, зачисляемым в бюджет  города-курорта Железноводска Ставропольского края 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ейтинг города-курорта Железноводска Ставропольского края по качеству управления муниципальными финансам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7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просроченной кредиторской задолженности в общем объеме рас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9370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Исполнение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25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редняя оценка качества финансового менеджмента, осуществляемого главными  распорядителями бюджетных средст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алл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7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5625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показателей утвержденного бюджета города на очередной финансовый год от показателей бюджетного прогноза, сформированного в предшествующем периоде: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194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налоговым и неналоговым доходам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7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8194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 расходам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9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8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78517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клонение фактического объема доходов бюджета города без учета безвозмездных поступлений от параметров первоначально утвержденного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3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19098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недоимки по налогам, зачисляемым в бюджет города, к сумме налоговых до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2092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ля налоговых и неналоговых доходов бюджета города (за исключением поступлений налоговых доходов по дополнительным нормативам отчислений) в общем объеме собственных доходов бюджета города (без учета субвенций)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7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67" y="809595"/>
          <a:ext cx="6286543" cy="7527781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429024"/>
                <a:gridCol w="714380"/>
                <a:gridCol w="500066"/>
                <a:gridCol w="571504"/>
                <a:gridCol w="571504"/>
                <a:gridCol w="500065"/>
              </a:tblGrid>
              <a:tr h="2047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47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799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дельный вес расходов бюджета города, формируемых в рамках муниципальных программ, в общем объеме рас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93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95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6253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ношение объема просроченной кредиторской задолженности, сложившейся по расходам бюджета города, к общему объему расходов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693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ровень достижения целевых значений показателей, предусмотренных в дорожной карте города-курорта Железноводска Ставропольского края, по соотношению средней заработной платы работников учреждений культуры и педагогических работников муниципальных учреждений дополнительного образования детей к средней заработной плате в Ставропольском крае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078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Расходы бюджета города на содержание работников органов местного самоуправления в расчете на одного жителя муниципального образования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ублей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4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6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92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7717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иведение параметров бюджетного прогноза города-курорта Железноводска  Ставропольского края на долгосрочный период в соответствие с решением о бюджете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386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Количество муниципальных учреждений города, функции которых по ведению  бюджетного (бухгалтерского) учета и составлению бюджетной (бухгалтерской)  отчетности передаются муниципальному бюджетному учреждению «Учетный центр»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8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67717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сумм взысканных административных штрафов и общей суммы наложенных административных  штрафов за нарушение бюджетного законодательства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2693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ъем муниципального долга города-курорта Железноводска  Ставропольского края (далее - муниципальный долг) к общему объему доходов бюджета города без учета безвозмездных поступлений (безвозмездных поступлений и (или) поступлений налоговых доходов по дополнительным нормативам отчислений от налога на доходы физических лиц)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1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2078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ля расходов на обслуживание муниципального долга в общем объеме расходов бюджета города, за исключением объема расходов, которые осуществляются за счет субвенций, предоставляемых из бюджетов бюджетной системы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6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8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5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5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233074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Годовая сумма платежей по погашению и обслуживанию муниципального долга, возникшего по состоянию на  1 января очередного финансового года, без учета платежей, направляемых на досрочное погашение долговых обязательств со сроками погашения после       1 января года, следующего за очередным финансовым годом, к общему объему налоговых и неналоговых доходов бюджета города и дотаций из бюджетов бюджетной системы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8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6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3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более 1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60648" y="1352601"/>
          <a:ext cx="6286543" cy="5832650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429024"/>
                <a:gridCol w="714380"/>
                <a:gridCol w="500066"/>
                <a:gridCol w="571504"/>
                <a:gridCol w="571504"/>
                <a:gridCol w="500065"/>
              </a:tblGrid>
              <a:tr h="2221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-ца измере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начение индикатора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21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</a:t>
                      </a:r>
                      <a:r>
                        <a:rPr kumimoji="0" lang="en-US" sz="1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охранение города-курорта Железноводска  Ставропольского края в группе муниципальных образований с высокой долговой устойчивостью по результатам оценки долговой устойчивост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оотношение количества проверок, по результатам которых приняты меры, и количества проверок, по результатам которых выявлены нарушения законодательства Российской Федераци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7355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Ежемесячное размещение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 информации об исполнении бюджета горо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670036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Обеспечение отражения показателей, отраженных в информационном отчете «Бюджет для граждан», размещенном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, в составе показателей, определенных методическими рекомендациями по представлению бюджетов субъектов Российской Федерации и местных бюджетов и отчетов об их исполнении в доступной для граждан форме, утвержденными приказом Министерства финансов Российской Федерации от      22 сентября 2015 г. № 145н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/нет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а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ровень собираемости по земельному налогу (отношение объема поступившего земельного налога к объему начисленного земельного налога)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0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2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4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 менее 95,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 процентное своевременное предоставление отраслевыми (функциональными) органами администрации города-курорта Железноводска Ставропольского края отчетности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роцентов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реестра расходных обязательств города-курорта Железноводска Ставропольского края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07469">
                <a:tc>
                  <a:txBody>
                    <a:bodyPr/>
                    <a:lstStyle/>
                    <a:p>
                      <a:pPr algn="just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сть предоставления обоснований бюджетных ассигнований на очередной финансовый год и плановый период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/не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воевременно</a:t>
                      </a:r>
                    </a:p>
                  </a:txBody>
                  <a:tcPr marL="7620" marR="7620" marT="7619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на 2024 год и плановый период 2025 и 2026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2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9" y="952472"/>
          <a:ext cx="6500859" cy="836446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82022"/>
                <a:gridCol w="1371626"/>
                <a:gridCol w="1231744"/>
                <a:gridCol w="647404"/>
                <a:gridCol w="450995"/>
                <a:gridCol w="95016"/>
                <a:gridCol w="533376"/>
                <a:gridCol w="499097"/>
                <a:gridCol w="634109"/>
                <a:gridCol w="755470"/>
              </a:tblGrid>
              <a:tr h="5004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млн. рублей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4694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06495">
                <a:tc gridSpan="10">
                  <a:txBody>
                    <a:bodyPr/>
                    <a:lstStyle/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 (ответственный исполнитель - управление образования администрации города-курорта Железноводска Ставропольского края, соисполнитель - управление городского хозяйства администрации города-курорта Железноводска Ставропольского края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8900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здание новых мест в общеобразовательных организациях в связи с ростом числа обучающихся, вызванным демографическим фактором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правление городского хозяйства администрации города-курорта               Железноводска Ставропольского края код 620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937,84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2024 год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98726">
                <a:tc gridSpan="2">
                  <a:txBody>
                    <a:bodyPr/>
                    <a:lstStyle/>
                    <a:p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937,84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0,0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0,0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3644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краевой бюджет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927,66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3644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0,18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,0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13029">
                <a:tc gridSpan="10">
                  <a:txBody>
                    <a:bodyPr/>
                    <a:lstStyle/>
                    <a:p>
                      <a:pPr algn="ctr"/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01537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Приобретение благоустроен-ного жилого помещения в муниципальную собственность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администрация города-курорта     Железновод-ска Ставропольского края - код 601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 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,</a:t>
                      </a: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,</a:t>
                      </a: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202</a:t>
                      </a: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4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 год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256822">
                <a:tc gridSpan="2">
                  <a:txBody>
                    <a:bodyPr/>
                    <a:lstStyle/>
                    <a:p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подразделу </a:t>
                      </a:r>
                      <a:r>
                        <a:rPr kumimoji="0" lang="en-US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II</a:t>
                      </a:r>
                      <a:endParaRPr kumimoji="0" lang="ru-RU" sz="9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,</a:t>
                      </a: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,</a:t>
                      </a: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68266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,6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,</a:t>
                      </a: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,</a:t>
                      </a:r>
                      <a:r>
                        <a:rPr lang="en-US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0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0"/>
            <a:ext cx="6858000" cy="99059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родская адресная инвестиционная программа на 202</a:t>
            </a:r>
            <a:r>
              <a:rPr lang="en-US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д и плановый период 202</a:t>
            </a:r>
            <a:r>
              <a:rPr lang="en-US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и 202</a:t>
            </a:r>
            <a:r>
              <a:rPr lang="en-US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одов</a:t>
            </a:r>
          </a:p>
          <a:p>
            <a:pPr algn="ctr">
              <a:lnSpc>
                <a:spcPts val="1500"/>
              </a:lnSpc>
            </a:pPr>
            <a:endParaRPr lang="ru-RU" sz="1000" b="1" dirty="0" smtClean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0657" name="Rectangle 1"/>
          <p:cNvSpPr>
            <a:spLocks noChangeArrowheads="1"/>
          </p:cNvSpPr>
          <p:nvPr/>
        </p:nvSpPr>
        <p:spPr bwMode="auto">
          <a:xfrm>
            <a:off x="2" y="0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9" y="952472"/>
          <a:ext cx="6500860" cy="6693433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52660"/>
                <a:gridCol w="1228823"/>
                <a:gridCol w="1103505"/>
                <a:gridCol w="580002"/>
                <a:gridCol w="489165"/>
                <a:gridCol w="477845"/>
                <a:gridCol w="447135"/>
                <a:gridCol w="568091"/>
                <a:gridCol w="676817"/>
                <a:gridCol w="676817"/>
              </a:tblGrid>
              <a:tr h="5004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9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финансирова-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млн. рублей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4694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en-US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2439">
                <a:tc gridSpan="9">
                  <a:txBody>
                    <a:bodyPr/>
                    <a:lstStyle/>
                    <a:p>
                      <a:pPr algn="ctr"/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68266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Итого по части первой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90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города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939,44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343295">
                <a:tc gridSpan="2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краевой 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927,66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3644">
                <a:tc gridSpan="2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города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1,78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714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Часть вторая. </a:t>
                      </a:r>
                      <a:r>
                        <a:rPr kumimoji="0" lang="ru-RU" sz="1600" kern="1200" dirty="0" err="1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программная</a:t>
                      </a:r>
                      <a:endParaRPr kumimoji="0" lang="ru-RU" sz="16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kern="1200" dirty="0" smtClean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714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ероприятия    отсутствуют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714">
                <a:tc gridSpan="3">
                  <a:txBody>
                    <a:bodyPr/>
                    <a:lstStyle/>
                    <a:p>
                      <a:pPr algn="ctr"/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того по части второй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 pitchFamily="18" charset="0"/>
                        <a:ea typeface="Times New Roman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714"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39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сего по городской адресной инвестиционной программ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700" dirty="0"/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939,44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714">
                <a:tc gridSpan="3"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краевой 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бюджет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927,66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478714">
                <a:tc gridSpan="3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 sz="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бюджет </a:t>
                      </a:r>
                    </a:p>
                    <a:p>
                      <a:pPr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города 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11,78 </a:t>
                      </a: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0,00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9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00372" y="8337376"/>
            <a:ext cx="1000125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6858000" cy="76251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800" b="1" dirty="0" smtClean="0">
                <a:latin typeface="Arial Black" pitchFamily="34" charset="0"/>
              </a:rPr>
              <a:t>Муниципальный внутренний долг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8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  <a:endParaRPr lang="ru-RU" altLang="ru-RU" sz="1800" b="1" dirty="0">
              <a:latin typeface="Arial Black" pitchFamily="34" charset="0"/>
            </a:endParaRPr>
          </a:p>
        </p:txBody>
      </p:sp>
      <p:graphicFrame>
        <p:nvGraphicFramePr>
          <p:cNvPr id="4" name="Диаграмма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1418681561"/>
              </p:ext>
            </p:extLst>
          </p:nvPr>
        </p:nvGraphicFramePr>
        <p:xfrm>
          <a:off x="0" y="523844"/>
          <a:ext cx="6858000" cy="8643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197" name="Picture 5" descr="C:\Users\ZhSuNA\Pictures\klipartz.com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4356" y="6833806"/>
            <a:ext cx="5214974" cy="307219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42852" y="2"/>
            <a:ext cx="6572296" cy="990599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endParaRPr lang="ru-RU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ление проекта бюджета города-курорта Железноводска Ставропольского края основывается на:</a:t>
            </a:r>
          </a:p>
          <a:p>
            <a:pPr algn="ctr" eaLnBrk="1" hangingPunct="1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ожениях послания Президента Российской Федерации Федеральному собранию РФ, определяющих бюджетную политику в Российской федерации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е социально-экономического развития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х направлениях бюджетной и налоговой политики города-курорта Железноводска Ставропольского края;</a:t>
            </a:r>
          </a:p>
          <a:p>
            <a:pPr indent="444500" algn="just" eaLnBrk="1" hangingPunct="1">
              <a:buFont typeface="Wingdings" pitchFamily="2" charset="2"/>
              <a:buChar char="v"/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ых программах города-курорта Железноводска Ставропольского края.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pic>
        <p:nvPicPr>
          <p:cNvPr id="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Скругленный прямоугольник 59"/>
          <p:cNvSpPr/>
          <p:nvPr/>
        </p:nvSpPr>
        <p:spPr>
          <a:xfrm>
            <a:off x="0" y="128464"/>
            <a:ext cx="6858000" cy="9906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/>
            <a:endParaRPr lang="ru-RU" sz="2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бличные слушания</a:t>
            </a:r>
          </a:p>
          <a:p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000" algn="just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05 декабря 2023 года в 14.00 часов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 конференц-зале муниципального бюджетного учреждения культуры «Городской Дворец культуры имени Сергея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скепалиса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города-курорта Железноводска Ставропольского края (город Железноводск, улица Чайковского, дом 1) состоятся публичные слушания по проекту решения Думы города-курорта Железноводска Ставропольского края «О бюджете города-курорта Железноводска Ставропольского края на 2024 год и плановый период 2025 и 2026 годов».</a:t>
            </a:r>
          </a:p>
          <a:p>
            <a:pPr indent="360000"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ект решения опубликован в приложении к общественно-политическому еженедельнику «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Железноводские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едомости»            от 22 ноября 2023 года № 47 (1242) и  </a:t>
            </a:r>
            <a:r>
              <a:rPr lang="ru-RU" sz="1600" dirty="0" smtClean="0">
                <a:solidFill>
                  <a:schemeClr val="tx1"/>
                </a:solidFill>
              </a:rPr>
              <a:t>на официальном сайте Думы и администрации города-курорта Железноводска Ставропольского края в сети </a:t>
            </a:r>
            <a:r>
              <a:rPr lang="ru-RU" sz="1600" smtClean="0">
                <a:solidFill>
                  <a:schemeClr val="tx1"/>
                </a:solidFill>
              </a:rPr>
              <a:t>Интернет (</a:t>
            </a:r>
            <a:r>
              <a:rPr lang="ru-RU" sz="1600" dirty="0" smtClean="0">
                <a:solidFill>
                  <a:schemeClr val="tx1"/>
                </a:solidFill>
              </a:rPr>
              <a:t>раздел «Бюджет» подраздел «Публичные слушания»)</a:t>
            </a: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000"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60000"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44500" algn="just"/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8934" y="7881958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905" name="Rectangle 1"/>
          <p:cNvSpPr>
            <a:spLocks noChangeArrowheads="1"/>
          </p:cNvSpPr>
          <p:nvPr/>
        </p:nvSpPr>
        <p:spPr bwMode="auto">
          <a:xfrm>
            <a:off x="1196752" y="4520952"/>
            <a:ext cx="597666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4492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0" marR="0" lvl="0" indent="4492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400" dirty="0" smtClean="0">
              <a:ea typeface="Calibri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2250281" y="4024318"/>
            <a:ext cx="4857750" cy="2783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2"/>
            <a:ext cx="6858000" cy="990599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eaLnBrk="1" hangingPunct="1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42852" y="2666984"/>
          <a:ext cx="6670524" cy="660565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46317"/>
                <a:gridCol w="895235"/>
                <a:gridCol w="813851"/>
                <a:gridCol w="813851"/>
                <a:gridCol w="732466"/>
                <a:gridCol w="913320"/>
                <a:gridCol w="955484"/>
              </a:tblGrid>
              <a:tr h="517861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67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5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6 год</a:t>
                      </a:r>
                      <a:endParaRPr kumimoji="0" lang="ru-RU" sz="14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5178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21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,13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,5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4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1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57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млн. руб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501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43,21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96,1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315,6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51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53,03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9576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11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1,2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7,17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7,04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1,64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7,12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84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млн. руб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08,2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867,4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909,7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78,4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10,6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63,00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6384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9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7777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174,7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4081,1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251,3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500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1300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500,0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  <a:tr h="1173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9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,7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,6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,8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6,3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,30</a:t>
                      </a:r>
                    </a:p>
                  </a:txBody>
                  <a:tcPr marL="60158" marR="60158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tint val="66000"/>
                            <a:satMod val="160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tint val="44500"/>
                            <a:satMod val="160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DIkm1Yk.UtmfRFq8I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оток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34893</TotalTime>
  <Words>11511</Words>
  <Application>Microsoft Office PowerPoint</Application>
  <PresentationFormat>Лист A4 (210x297 мм)</PresentationFormat>
  <Paragraphs>3599</Paragraphs>
  <Slides>80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0</vt:i4>
      </vt:variant>
    </vt:vector>
  </HeadingPairs>
  <TitlesOfParts>
    <vt:vector size="82" baseType="lpstr">
      <vt:lpstr>Поток</vt:lpstr>
      <vt:lpstr>Worksheet</vt:lpstr>
      <vt:lpstr>БЮДЖЕТ ДЛЯ ГРАЖДАН   по проекту решения Думы города-курорта Железноводска Ставропольского края  «О бюджете города-курорта Железноводска Ставропольского края  на 2024 год и плановый период 2025-2026 годов»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  <vt:lpstr>Слайд 77</vt:lpstr>
      <vt:lpstr>Слайд 78</vt:lpstr>
      <vt:lpstr>Слайд 79</vt:lpstr>
      <vt:lpstr>Слайд 80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User1</cp:lastModifiedBy>
  <cp:revision>4882</cp:revision>
  <dcterms:created xsi:type="dcterms:W3CDTF">2014-11-25T07:29:51Z</dcterms:created>
  <dcterms:modified xsi:type="dcterms:W3CDTF">2023-11-24T09:35:23Z</dcterms:modified>
</cp:coreProperties>
</file>